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1" r:id="rId1"/>
  </p:sldMasterIdLst>
  <p:notesMasterIdLst>
    <p:notesMasterId r:id="rId11"/>
  </p:notesMasterIdLst>
  <p:handoutMasterIdLst>
    <p:handoutMasterId r:id="rId12"/>
  </p:handoutMasterIdLst>
  <p:sldIdLst>
    <p:sldId id="256" r:id="rId2"/>
    <p:sldId id="4255" r:id="rId3"/>
    <p:sldId id="318" r:id="rId4"/>
    <p:sldId id="319" r:id="rId5"/>
    <p:sldId id="1457" r:id="rId6"/>
    <p:sldId id="4275" r:id="rId7"/>
    <p:sldId id="4274" r:id="rId8"/>
    <p:sldId id="4262" r:id="rId9"/>
    <p:sldId id="4270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1E00"/>
    <a:srgbClr val="E5EEF3"/>
    <a:srgbClr val="789AB4"/>
    <a:srgbClr val="669CBA"/>
    <a:srgbClr val="EF8200"/>
    <a:srgbClr val="702C6A"/>
    <a:srgbClr val="5A8E22"/>
    <a:srgbClr val="333333"/>
    <a:srgbClr val="4242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3450" autoAdjust="0"/>
  </p:normalViewPr>
  <p:slideViewPr>
    <p:cSldViewPr snapToGrid="0">
      <p:cViewPr varScale="1">
        <p:scale>
          <a:sx n="107" d="100"/>
          <a:sy n="107" d="100"/>
        </p:scale>
        <p:origin x="696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-396"/>
    </p:cViewPr>
  </p:notesTextViewPr>
  <p:sorterViewPr>
    <p:cViewPr varScale="1">
      <p:scale>
        <a:sx n="1" d="1"/>
        <a:sy n="1" d="1"/>
      </p:scale>
      <p:origin x="0" y="-2796"/>
    </p:cViewPr>
  </p:sorterViewPr>
  <p:notesViewPr>
    <p:cSldViewPr snapToGrid="0">
      <p:cViewPr varScale="1">
        <p:scale>
          <a:sx n="69" d="100"/>
          <a:sy n="69" d="100"/>
        </p:scale>
        <p:origin x="2412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 Wise" userId="840534413e3eb3ec" providerId="LiveId" clId="{E673EFDB-A2E9-4CAF-BD55-C38C1969773D}"/>
    <pc:docChg chg="undo redo custSel addSld delSld modSld sldOrd delSection modSection">
      <pc:chgData name="Alex Wise" userId="840534413e3eb3ec" providerId="LiveId" clId="{E673EFDB-A2E9-4CAF-BD55-C38C1969773D}" dt="2021-04-20T02:14:32.714" v="2936" actId="14100"/>
      <pc:docMkLst>
        <pc:docMk/>
      </pc:docMkLst>
      <pc:sldChg chg="modSp mod modNotesTx">
        <pc:chgData name="Alex Wise" userId="840534413e3eb3ec" providerId="LiveId" clId="{E673EFDB-A2E9-4CAF-BD55-C38C1969773D}" dt="2021-04-20T00:25:02.717" v="1798" actId="20577"/>
        <pc:sldMkLst>
          <pc:docMk/>
          <pc:sldMk cId="3274102174" sldId="318"/>
        </pc:sldMkLst>
        <pc:spChg chg="mod">
          <ac:chgData name="Alex Wise" userId="840534413e3eb3ec" providerId="LiveId" clId="{E673EFDB-A2E9-4CAF-BD55-C38C1969773D}" dt="2021-04-18T19:13:08.793" v="23" actId="20577"/>
          <ac:spMkLst>
            <pc:docMk/>
            <pc:sldMk cId="3274102174" sldId="318"/>
            <ac:spMk id="24" creationId="{9F98EC11-B5C0-4DEA-AB20-D5F7CFEFC639}"/>
          </ac:spMkLst>
        </pc:spChg>
      </pc:sldChg>
      <pc:sldChg chg="delSp modSp mod">
        <pc:chgData name="Alex Wise" userId="840534413e3eb3ec" providerId="LiveId" clId="{E673EFDB-A2E9-4CAF-BD55-C38C1969773D}" dt="2021-04-20T00:36:58.645" v="2537" actId="20577"/>
        <pc:sldMkLst>
          <pc:docMk/>
          <pc:sldMk cId="273493080" sldId="319"/>
        </pc:sldMkLst>
        <pc:spChg chg="del">
          <ac:chgData name="Alex Wise" userId="840534413e3eb3ec" providerId="LiveId" clId="{E673EFDB-A2E9-4CAF-BD55-C38C1969773D}" dt="2021-04-20T00:02:06.431" v="813" actId="478"/>
          <ac:spMkLst>
            <pc:docMk/>
            <pc:sldMk cId="273493080" sldId="319"/>
            <ac:spMk id="4" creationId="{E114BD33-9B3D-4284-A03E-0C5D21CD6F26}"/>
          </ac:spMkLst>
        </pc:spChg>
        <pc:spChg chg="mod">
          <ac:chgData name="Alex Wise" userId="840534413e3eb3ec" providerId="LiveId" clId="{E673EFDB-A2E9-4CAF-BD55-C38C1969773D}" dt="2021-04-20T00:36:51.877" v="2523" actId="20577"/>
          <ac:spMkLst>
            <pc:docMk/>
            <pc:sldMk cId="273493080" sldId="319"/>
            <ac:spMk id="50" creationId="{00000000-0000-0000-0000-000000000000}"/>
          </ac:spMkLst>
        </pc:spChg>
        <pc:spChg chg="mod">
          <ac:chgData name="Alex Wise" userId="840534413e3eb3ec" providerId="LiveId" clId="{E673EFDB-A2E9-4CAF-BD55-C38C1969773D}" dt="2021-04-20T00:36:18.820" v="2479" actId="20577"/>
          <ac:spMkLst>
            <pc:docMk/>
            <pc:sldMk cId="273493080" sldId="319"/>
            <ac:spMk id="52" creationId="{00000000-0000-0000-0000-000000000000}"/>
          </ac:spMkLst>
        </pc:spChg>
        <pc:spChg chg="mod">
          <ac:chgData name="Alex Wise" userId="840534413e3eb3ec" providerId="LiveId" clId="{E673EFDB-A2E9-4CAF-BD55-C38C1969773D}" dt="2021-04-20T00:36:30.973" v="2493" actId="20577"/>
          <ac:spMkLst>
            <pc:docMk/>
            <pc:sldMk cId="273493080" sldId="319"/>
            <ac:spMk id="53" creationId="{00000000-0000-0000-0000-000000000000}"/>
          </ac:spMkLst>
        </pc:spChg>
        <pc:spChg chg="mod">
          <ac:chgData name="Alex Wise" userId="840534413e3eb3ec" providerId="LiveId" clId="{E673EFDB-A2E9-4CAF-BD55-C38C1969773D}" dt="2021-04-20T00:36:58.645" v="2537" actId="20577"/>
          <ac:spMkLst>
            <pc:docMk/>
            <pc:sldMk cId="273493080" sldId="319"/>
            <ac:spMk id="54" creationId="{00000000-0000-0000-0000-000000000000}"/>
          </ac:spMkLst>
        </pc:spChg>
        <pc:spChg chg="mod">
          <ac:chgData name="Alex Wise" userId="840534413e3eb3ec" providerId="LiveId" clId="{E673EFDB-A2E9-4CAF-BD55-C38C1969773D}" dt="2021-04-20T00:36:44.389" v="2508" actId="20577"/>
          <ac:spMkLst>
            <pc:docMk/>
            <pc:sldMk cId="273493080" sldId="319"/>
            <ac:spMk id="57" creationId="{00000000-0000-0000-0000-000000000000}"/>
          </ac:spMkLst>
        </pc:spChg>
      </pc:sldChg>
      <pc:sldChg chg="modSp add del mod">
        <pc:chgData name="Alex Wise" userId="840534413e3eb3ec" providerId="LiveId" clId="{E673EFDB-A2E9-4CAF-BD55-C38C1969773D}" dt="2021-04-19T23:47:32.954" v="424" actId="47"/>
        <pc:sldMkLst>
          <pc:docMk/>
          <pc:sldMk cId="3949241255" sldId="644"/>
        </pc:sldMkLst>
        <pc:spChg chg="mod">
          <ac:chgData name="Alex Wise" userId="840534413e3eb3ec" providerId="LiveId" clId="{E673EFDB-A2E9-4CAF-BD55-C38C1969773D}" dt="2021-04-19T23:34:44.311" v="276" actId="20577"/>
          <ac:spMkLst>
            <pc:docMk/>
            <pc:sldMk cId="3949241255" sldId="644"/>
            <ac:spMk id="5" creationId="{FF4060CE-CE3A-FE46-9926-A7BF459A0520}"/>
          </ac:spMkLst>
        </pc:spChg>
      </pc:sldChg>
      <pc:sldChg chg="del">
        <pc:chgData name="Alex Wise" userId="840534413e3eb3ec" providerId="LiveId" clId="{E673EFDB-A2E9-4CAF-BD55-C38C1969773D}" dt="2021-04-19T23:30:05.921" v="103" actId="47"/>
        <pc:sldMkLst>
          <pc:docMk/>
          <pc:sldMk cId="3107649157" sldId="650"/>
        </pc:sldMkLst>
      </pc:sldChg>
      <pc:sldChg chg="addSp delSp modSp add del mod">
        <pc:chgData name="Alex Wise" userId="840534413e3eb3ec" providerId="LiveId" clId="{E673EFDB-A2E9-4CAF-BD55-C38C1969773D}" dt="2021-04-20T00:02:38.797" v="819" actId="47"/>
        <pc:sldMkLst>
          <pc:docMk/>
          <pc:sldMk cId="905252822" sldId="713"/>
        </pc:sldMkLst>
        <pc:spChg chg="del">
          <ac:chgData name="Alex Wise" userId="840534413e3eb3ec" providerId="LiveId" clId="{E673EFDB-A2E9-4CAF-BD55-C38C1969773D}" dt="2021-04-20T00:02:08.767" v="814" actId="478"/>
          <ac:spMkLst>
            <pc:docMk/>
            <pc:sldMk cId="905252822" sldId="713"/>
            <ac:spMk id="2" creationId="{A1F2DECD-54F6-CB4D-B48F-32DD40D2588D}"/>
          </ac:spMkLst>
        </pc:spChg>
        <pc:spChg chg="mod">
          <ac:chgData name="Alex Wise" userId="840534413e3eb3ec" providerId="LiveId" clId="{E673EFDB-A2E9-4CAF-BD55-C38C1969773D}" dt="2021-04-19T23:43:29.646" v="285" actId="20577"/>
          <ac:spMkLst>
            <pc:docMk/>
            <pc:sldMk cId="905252822" sldId="713"/>
            <ac:spMk id="5" creationId="{FF4060CE-CE3A-FE46-9926-A7BF459A0520}"/>
          </ac:spMkLst>
        </pc:spChg>
        <pc:spChg chg="add del">
          <ac:chgData name="Alex Wise" userId="840534413e3eb3ec" providerId="LiveId" clId="{E673EFDB-A2E9-4CAF-BD55-C38C1969773D}" dt="2021-04-19T23:44:50.370" v="291" actId="478"/>
          <ac:spMkLst>
            <pc:docMk/>
            <pc:sldMk cId="905252822" sldId="713"/>
            <ac:spMk id="25" creationId="{249AC437-02E6-42F8-9617-0967F15E6513}"/>
          </ac:spMkLst>
        </pc:spChg>
        <pc:spChg chg="mod">
          <ac:chgData name="Alex Wise" userId="840534413e3eb3ec" providerId="LiveId" clId="{E673EFDB-A2E9-4CAF-BD55-C38C1969773D}" dt="2021-04-19T23:46:36.822" v="423" actId="20577"/>
          <ac:spMkLst>
            <pc:docMk/>
            <pc:sldMk cId="905252822" sldId="713"/>
            <ac:spMk id="31" creationId="{E5B8459D-9B06-4A17-BEE9-3F49EEE5C071}"/>
          </ac:spMkLst>
        </pc:spChg>
        <pc:spChg chg="mod">
          <ac:chgData name="Alex Wise" userId="840534413e3eb3ec" providerId="LiveId" clId="{E673EFDB-A2E9-4CAF-BD55-C38C1969773D}" dt="2021-04-19T23:45:46.126" v="350" actId="20577"/>
          <ac:spMkLst>
            <pc:docMk/>
            <pc:sldMk cId="905252822" sldId="713"/>
            <ac:spMk id="32" creationId="{2597D2FE-E1EB-47FA-B852-EC5E4AE71F1A}"/>
          </ac:spMkLst>
        </pc:spChg>
        <pc:spChg chg="add del mod">
          <ac:chgData name="Alex Wise" userId="840534413e3eb3ec" providerId="LiveId" clId="{E673EFDB-A2E9-4CAF-BD55-C38C1969773D}" dt="2021-04-19T23:46:05.390" v="390" actId="20577"/>
          <ac:spMkLst>
            <pc:docMk/>
            <pc:sldMk cId="905252822" sldId="713"/>
            <ac:spMk id="33" creationId="{3DC2FE50-91A5-4C98-BD0D-72EF708979B3}"/>
          </ac:spMkLst>
        </pc:spChg>
        <pc:spChg chg="mod">
          <ac:chgData name="Alex Wise" userId="840534413e3eb3ec" providerId="LiveId" clId="{E673EFDB-A2E9-4CAF-BD55-C38C1969773D}" dt="2021-04-19T23:45:53.422" v="366" actId="20577"/>
          <ac:spMkLst>
            <pc:docMk/>
            <pc:sldMk cId="905252822" sldId="713"/>
            <ac:spMk id="34" creationId="{3BD7282B-C18D-4073-A197-36BB315FCE89}"/>
          </ac:spMkLst>
        </pc:spChg>
        <pc:spChg chg="add del mod">
          <ac:chgData name="Alex Wise" userId="840534413e3eb3ec" providerId="LiveId" clId="{E673EFDB-A2E9-4CAF-BD55-C38C1969773D}" dt="2021-04-19T23:46:09.774" v="407" actId="20577"/>
          <ac:spMkLst>
            <pc:docMk/>
            <pc:sldMk cId="905252822" sldId="713"/>
            <ac:spMk id="35" creationId="{231D64F9-94E4-4844-85A4-23D2BA44CBB2}"/>
          </ac:spMkLst>
        </pc:spChg>
        <pc:spChg chg="add del">
          <ac:chgData name="Alex Wise" userId="840534413e3eb3ec" providerId="LiveId" clId="{E673EFDB-A2E9-4CAF-BD55-C38C1969773D}" dt="2021-04-19T23:44:50.370" v="291" actId="478"/>
          <ac:spMkLst>
            <pc:docMk/>
            <pc:sldMk cId="905252822" sldId="713"/>
            <ac:spMk id="71" creationId="{B1C04FA6-55FC-41B6-AFD0-AB250041B1E0}"/>
          </ac:spMkLst>
        </pc:spChg>
        <pc:cxnChg chg="add del">
          <ac:chgData name="Alex Wise" userId="840534413e3eb3ec" providerId="LiveId" clId="{E673EFDB-A2E9-4CAF-BD55-C38C1969773D}" dt="2021-04-19T23:44:52.424" v="295" actId="478"/>
          <ac:cxnSpMkLst>
            <pc:docMk/>
            <pc:sldMk cId="905252822" sldId="713"/>
            <ac:cxnSpMk id="38" creationId="{997DEEA1-0FD6-4DA7-8B63-7AFE72F1506B}"/>
          </ac:cxnSpMkLst>
        </pc:cxnChg>
        <pc:cxnChg chg="add del">
          <ac:chgData name="Alex Wise" userId="840534413e3eb3ec" providerId="LiveId" clId="{E673EFDB-A2E9-4CAF-BD55-C38C1969773D}" dt="2021-04-19T23:44:50.370" v="291" actId="478"/>
          <ac:cxnSpMkLst>
            <pc:docMk/>
            <pc:sldMk cId="905252822" sldId="713"/>
            <ac:cxnSpMk id="39" creationId="{86D8CE29-6BD7-4EA0-BC48-DCF82472AA4D}"/>
          </ac:cxnSpMkLst>
        </pc:cxnChg>
        <pc:cxnChg chg="add del">
          <ac:chgData name="Alex Wise" userId="840534413e3eb3ec" providerId="LiveId" clId="{E673EFDB-A2E9-4CAF-BD55-C38C1969773D}" dt="2021-04-19T23:44:51.888" v="294" actId="478"/>
          <ac:cxnSpMkLst>
            <pc:docMk/>
            <pc:sldMk cId="905252822" sldId="713"/>
            <ac:cxnSpMk id="66" creationId="{9649DE0E-4497-4256-95CC-106C8C7737F1}"/>
          </ac:cxnSpMkLst>
        </pc:cxnChg>
        <pc:cxnChg chg="add del">
          <ac:chgData name="Alex Wise" userId="840534413e3eb3ec" providerId="LiveId" clId="{E673EFDB-A2E9-4CAF-BD55-C38C1969773D}" dt="2021-04-19T23:44:51.128" v="292" actId="478"/>
          <ac:cxnSpMkLst>
            <pc:docMk/>
            <pc:sldMk cId="905252822" sldId="713"/>
            <ac:cxnSpMk id="67" creationId="{1451A2B8-2A00-4A1F-BC4A-3A3281143755}"/>
          </ac:cxnSpMkLst>
        </pc:cxnChg>
      </pc:sldChg>
      <pc:sldChg chg="del">
        <pc:chgData name="Alex Wise" userId="840534413e3eb3ec" providerId="LiveId" clId="{E673EFDB-A2E9-4CAF-BD55-C38C1969773D}" dt="2021-04-18T19:14:04.162" v="28" actId="47"/>
        <pc:sldMkLst>
          <pc:docMk/>
          <pc:sldMk cId="1899922442" sldId="757"/>
        </pc:sldMkLst>
      </pc:sldChg>
      <pc:sldChg chg="addSp delSp modSp add mod modAnim modNotesTx">
        <pc:chgData name="Alex Wise" userId="840534413e3eb3ec" providerId="LiveId" clId="{E673EFDB-A2E9-4CAF-BD55-C38C1969773D}" dt="2021-04-20T02:14:32.714" v="2936" actId="14100"/>
        <pc:sldMkLst>
          <pc:docMk/>
          <pc:sldMk cId="3103422854" sldId="1457"/>
        </pc:sldMkLst>
        <pc:spChg chg="add mod">
          <ac:chgData name="Alex Wise" userId="840534413e3eb3ec" providerId="LiveId" clId="{E673EFDB-A2E9-4CAF-BD55-C38C1969773D}" dt="2021-04-20T02:14:32.714" v="2936" actId="14100"/>
          <ac:spMkLst>
            <pc:docMk/>
            <pc:sldMk cId="3103422854" sldId="1457"/>
            <ac:spMk id="3" creationId="{121B0B8D-668F-42DE-A979-FA50D05B7C2D}"/>
          </ac:spMkLst>
        </pc:spChg>
        <pc:spChg chg="add del">
          <ac:chgData name="Alex Wise" userId="840534413e3eb3ec" providerId="LiveId" clId="{E673EFDB-A2E9-4CAF-BD55-C38C1969773D}" dt="2021-04-19T23:51:36.464" v="466" actId="478"/>
          <ac:spMkLst>
            <pc:docMk/>
            <pc:sldMk cId="3103422854" sldId="1457"/>
            <ac:spMk id="10" creationId="{43CCE5D4-E8F1-43CC-8703-F86C2BE729F0}"/>
          </ac:spMkLst>
        </pc:spChg>
        <pc:spChg chg="mod">
          <ac:chgData name="Alex Wise" userId="840534413e3eb3ec" providerId="LiveId" clId="{E673EFDB-A2E9-4CAF-BD55-C38C1969773D}" dt="2021-04-19T23:50:31.390" v="435" actId="20577"/>
          <ac:spMkLst>
            <pc:docMk/>
            <pc:sldMk cId="3103422854" sldId="1457"/>
            <ac:spMk id="14" creationId="{055A4668-9C7D-CD4D-8E46-10752769FFE5}"/>
          </ac:spMkLst>
        </pc:spChg>
        <pc:spChg chg="add del">
          <ac:chgData name="Alex Wise" userId="840534413e3eb3ec" providerId="LiveId" clId="{E673EFDB-A2E9-4CAF-BD55-C38C1969773D}" dt="2021-04-19T23:51:37.407" v="471" actId="478"/>
          <ac:spMkLst>
            <pc:docMk/>
            <pc:sldMk cId="3103422854" sldId="1457"/>
            <ac:spMk id="35" creationId="{38A48341-1A57-42C6-9738-E79001855A3F}"/>
          </ac:spMkLst>
        </pc:spChg>
        <pc:spChg chg="add del">
          <ac:chgData name="Alex Wise" userId="840534413e3eb3ec" providerId="LiveId" clId="{E673EFDB-A2E9-4CAF-BD55-C38C1969773D}" dt="2021-04-19T23:51:37.092" v="469" actId="478"/>
          <ac:spMkLst>
            <pc:docMk/>
            <pc:sldMk cId="3103422854" sldId="1457"/>
            <ac:spMk id="36" creationId="{8D552C86-A147-4CDE-AD26-53B8F909B908}"/>
          </ac:spMkLst>
        </pc:spChg>
        <pc:spChg chg="mod">
          <ac:chgData name="Alex Wise" userId="840534413e3eb3ec" providerId="LiveId" clId="{E673EFDB-A2E9-4CAF-BD55-C38C1969773D}" dt="2021-04-20T00:39:45.446" v="2542" actId="20577"/>
          <ac:spMkLst>
            <pc:docMk/>
            <pc:sldMk cId="3103422854" sldId="1457"/>
            <ac:spMk id="37" creationId="{00000000-0000-0000-0000-000000000000}"/>
          </ac:spMkLst>
        </pc:spChg>
        <pc:spChg chg="add del">
          <ac:chgData name="Alex Wise" userId="840534413e3eb3ec" providerId="LiveId" clId="{E673EFDB-A2E9-4CAF-BD55-C38C1969773D}" dt="2021-04-19T23:51:37.723" v="473" actId="478"/>
          <ac:spMkLst>
            <pc:docMk/>
            <pc:sldMk cId="3103422854" sldId="1457"/>
            <ac:spMk id="39" creationId="{F2538FB0-DCFE-4DF7-BF8E-163F7E701434}"/>
          </ac:spMkLst>
        </pc:spChg>
        <pc:spChg chg="add mod">
          <ac:chgData name="Alex Wise" userId="840534413e3eb3ec" providerId="LiveId" clId="{E673EFDB-A2E9-4CAF-BD55-C38C1969773D}" dt="2021-04-20T00:48:57.349" v="2800" actId="1036"/>
          <ac:spMkLst>
            <pc:docMk/>
            <pc:sldMk cId="3103422854" sldId="1457"/>
            <ac:spMk id="40" creationId="{71350E98-8F3E-45E9-A4E3-563A14757860}"/>
          </ac:spMkLst>
        </pc:spChg>
        <pc:spChg chg="add mod">
          <ac:chgData name="Alex Wise" userId="840534413e3eb3ec" providerId="LiveId" clId="{E673EFDB-A2E9-4CAF-BD55-C38C1969773D}" dt="2021-04-20T00:48:57.349" v="2800" actId="1036"/>
          <ac:spMkLst>
            <pc:docMk/>
            <pc:sldMk cId="3103422854" sldId="1457"/>
            <ac:spMk id="41" creationId="{DB55B8F9-C44A-474D-94F8-63CE2791361F}"/>
          </ac:spMkLst>
        </pc:spChg>
        <pc:spChg chg="add del mod">
          <ac:chgData name="Alex Wise" userId="840534413e3eb3ec" providerId="LiveId" clId="{E673EFDB-A2E9-4CAF-BD55-C38C1969773D}" dt="2021-04-20T00:41:35.477" v="2612" actId="478"/>
          <ac:spMkLst>
            <pc:docMk/>
            <pc:sldMk cId="3103422854" sldId="1457"/>
            <ac:spMk id="42" creationId="{06C81B5F-AE1A-479E-AF75-0AD490715ABE}"/>
          </ac:spMkLst>
        </pc:spChg>
        <pc:spChg chg="add del mod">
          <ac:chgData name="Alex Wise" userId="840534413e3eb3ec" providerId="LiveId" clId="{E673EFDB-A2E9-4CAF-BD55-C38C1969773D}" dt="2021-04-20T00:41:33.997" v="2611" actId="478"/>
          <ac:spMkLst>
            <pc:docMk/>
            <pc:sldMk cId="3103422854" sldId="1457"/>
            <ac:spMk id="43" creationId="{0F49336D-73F6-4AD3-A1CE-5A9A728D1C03}"/>
          </ac:spMkLst>
        </pc:spChg>
        <pc:spChg chg="add del mod">
          <ac:chgData name="Alex Wise" userId="840534413e3eb3ec" providerId="LiveId" clId="{E673EFDB-A2E9-4CAF-BD55-C38C1969773D}" dt="2021-04-20T00:41:32.317" v="2610" actId="478"/>
          <ac:spMkLst>
            <pc:docMk/>
            <pc:sldMk cId="3103422854" sldId="1457"/>
            <ac:spMk id="44" creationId="{372E4D07-5133-4CD5-AFB5-C652C8895722}"/>
          </ac:spMkLst>
        </pc:spChg>
        <pc:spChg chg="add del">
          <ac:chgData name="Alex Wise" userId="840534413e3eb3ec" providerId="LiveId" clId="{E673EFDB-A2E9-4CAF-BD55-C38C1969773D}" dt="2021-04-19T23:51:38.046" v="475" actId="478"/>
          <ac:spMkLst>
            <pc:docMk/>
            <pc:sldMk cId="3103422854" sldId="1457"/>
            <ac:spMk id="45" creationId="{3229C583-FC28-41BA-AE2C-0ECADD756928}"/>
          </ac:spMkLst>
        </pc:spChg>
        <pc:spChg chg="add del">
          <ac:chgData name="Alex Wise" userId="840534413e3eb3ec" providerId="LiveId" clId="{E673EFDB-A2E9-4CAF-BD55-C38C1969773D}" dt="2021-04-19T23:51:38.368" v="477" actId="478"/>
          <ac:spMkLst>
            <pc:docMk/>
            <pc:sldMk cId="3103422854" sldId="1457"/>
            <ac:spMk id="46" creationId="{51628D51-870E-4145-B7B6-D4029CCA3ED5}"/>
          </ac:spMkLst>
        </pc:spChg>
        <pc:spChg chg="add del mod">
          <ac:chgData name="Alex Wise" userId="840534413e3eb3ec" providerId="LiveId" clId="{E673EFDB-A2E9-4CAF-BD55-C38C1969773D}" dt="2021-04-20T00:41:30.996" v="2609" actId="478"/>
          <ac:spMkLst>
            <pc:docMk/>
            <pc:sldMk cId="3103422854" sldId="1457"/>
            <ac:spMk id="48" creationId="{3E8280BB-CBE8-4965-99B0-2E2B444F80DC}"/>
          </ac:spMkLst>
        </pc:spChg>
        <pc:spChg chg="add del mod">
          <ac:chgData name="Alex Wise" userId="840534413e3eb3ec" providerId="LiveId" clId="{E673EFDB-A2E9-4CAF-BD55-C38C1969773D}" dt="2021-04-20T00:41:27.701" v="2607" actId="478"/>
          <ac:spMkLst>
            <pc:docMk/>
            <pc:sldMk cId="3103422854" sldId="1457"/>
            <ac:spMk id="49" creationId="{AF180510-6FC8-44DD-B9DB-742F00E7A4A2}"/>
          </ac:spMkLst>
        </pc:spChg>
        <pc:spChg chg="del mod">
          <ac:chgData name="Alex Wise" userId="840534413e3eb3ec" providerId="LiveId" clId="{E673EFDB-A2E9-4CAF-BD55-C38C1969773D}" dt="2021-04-20T00:02:10.878" v="816" actId="478"/>
          <ac:spMkLst>
            <pc:docMk/>
            <pc:sldMk cId="3103422854" sldId="1457"/>
            <ac:spMk id="50" creationId="{5EADCAF3-87F0-411D-B684-C1DACE3A58F7}"/>
          </ac:spMkLst>
        </pc:spChg>
        <pc:spChg chg="add del mod">
          <ac:chgData name="Alex Wise" userId="840534413e3eb3ec" providerId="LiveId" clId="{E673EFDB-A2E9-4CAF-BD55-C38C1969773D}" dt="2021-04-20T00:41:26.109" v="2606" actId="478"/>
          <ac:spMkLst>
            <pc:docMk/>
            <pc:sldMk cId="3103422854" sldId="1457"/>
            <ac:spMk id="51" creationId="{373494C6-6489-4E87-9FCF-2A8243B50415}"/>
          </ac:spMkLst>
        </pc:spChg>
        <pc:spChg chg="add mod">
          <ac:chgData name="Alex Wise" userId="840534413e3eb3ec" providerId="LiveId" clId="{E673EFDB-A2E9-4CAF-BD55-C38C1969773D}" dt="2021-04-20T00:48:57.349" v="2800" actId="1036"/>
          <ac:spMkLst>
            <pc:docMk/>
            <pc:sldMk cId="3103422854" sldId="1457"/>
            <ac:spMk id="52" creationId="{69FCCA9E-5F5A-44A4-ADF2-A85C7F2822F6}"/>
          </ac:spMkLst>
        </pc:spChg>
        <pc:spChg chg="del mod">
          <ac:chgData name="Alex Wise" userId="840534413e3eb3ec" providerId="LiveId" clId="{E673EFDB-A2E9-4CAF-BD55-C38C1969773D}" dt="2021-04-20T00:42:07.509" v="2615" actId="478"/>
          <ac:spMkLst>
            <pc:docMk/>
            <pc:sldMk cId="3103422854" sldId="1457"/>
            <ac:spMk id="53" creationId="{61AF081A-EA86-EF49-9200-A46AC5FC3089}"/>
          </ac:spMkLst>
        </pc:spChg>
        <pc:spChg chg="add mod">
          <ac:chgData name="Alex Wise" userId="840534413e3eb3ec" providerId="LiveId" clId="{E673EFDB-A2E9-4CAF-BD55-C38C1969773D}" dt="2021-04-20T00:48:57.349" v="2800" actId="1036"/>
          <ac:spMkLst>
            <pc:docMk/>
            <pc:sldMk cId="3103422854" sldId="1457"/>
            <ac:spMk id="54" creationId="{28371047-B9B9-469A-83D9-1914E0C254F5}"/>
          </ac:spMkLst>
        </pc:spChg>
        <pc:spChg chg="add del mod">
          <ac:chgData name="Alex Wise" userId="840534413e3eb3ec" providerId="LiveId" clId="{E673EFDB-A2E9-4CAF-BD55-C38C1969773D}" dt="2021-04-20T00:41:25.071" v="2605" actId="478"/>
          <ac:spMkLst>
            <pc:docMk/>
            <pc:sldMk cId="3103422854" sldId="1457"/>
            <ac:spMk id="55" creationId="{93E9C9E6-33D1-4548-8507-1B334E69BE0B}"/>
          </ac:spMkLst>
        </pc:spChg>
        <pc:spChg chg="add del">
          <ac:chgData name="Alex Wise" userId="840534413e3eb3ec" providerId="LiveId" clId="{E673EFDB-A2E9-4CAF-BD55-C38C1969773D}" dt="2021-04-19T23:51:38.914" v="479" actId="478"/>
          <ac:spMkLst>
            <pc:docMk/>
            <pc:sldMk cId="3103422854" sldId="1457"/>
            <ac:spMk id="56" creationId="{9EE1CEDE-87A7-4C17-B3B1-716855B73918}"/>
          </ac:spMkLst>
        </pc:spChg>
        <pc:spChg chg="add mod">
          <ac:chgData name="Alex Wise" userId="840534413e3eb3ec" providerId="LiveId" clId="{E673EFDB-A2E9-4CAF-BD55-C38C1969773D}" dt="2021-04-20T00:48:57.349" v="2800" actId="1036"/>
          <ac:spMkLst>
            <pc:docMk/>
            <pc:sldMk cId="3103422854" sldId="1457"/>
            <ac:spMk id="58" creationId="{7E5670D4-DB65-4384-9875-702FA25A7F28}"/>
          </ac:spMkLst>
        </pc:spChg>
        <pc:spChg chg="add mod">
          <ac:chgData name="Alex Wise" userId="840534413e3eb3ec" providerId="LiveId" clId="{E673EFDB-A2E9-4CAF-BD55-C38C1969773D}" dt="2021-04-20T00:48:57.349" v="2800" actId="1036"/>
          <ac:spMkLst>
            <pc:docMk/>
            <pc:sldMk cId="3103422854" sldId="1457"/>
            <ac:spMk id="59" creationId="{68042B92-1CD4-48E0-81FD-375E05A6AF45}"/>
          </ac:spMkLst>
        </pc:spChg>
        <pc:spChg chg="add del mod">
          <ac:chgData name="Alex Wise" userId="840534413e3eb3ec" providerId="LiveId" clId="{E673EFDB-A2E9-4CAF-BD55-C38C1969773D}" dt="2021-04-20T00:41:28.844" v="2608" actId="478"/>
          <ac:spMkLst>
            <pc:docMk/>
            <pc:sldMk cId="3103422854" sldId="1457"/>
            <ac:spMk id="60" creationId="{40D09DD5-8585-4F08-A002-F240983A87EA}"/>
          </ac:spMkLst>
        </pc:spChg>
        <pc:spChg chg="add mod">
          <ac:chgData name="Alex Wise" userId="840534413e3eb3ec" providerId="LiveId" clId="{E673EFDB-A2E9-4CAF-BD55-C38C1969773D}" dt="2021-04-20T00:48:57.349" v="2800" actId="1036"/>
          <ac:spMkLst>
            <pc:docMk/>
            <pc:sldMk cId="3103422854" sldId="1457"/>
            <ac:spMk id="61" creationId="{5F966FC4-C5FA-458F-9BB9-0452E2B31A80}"/>
          </ac:spMkLst>
        </pc:spChg>
        <pc:spChg chg="add del mod">
          <ac:chgData name="Alex Wise" userId="840534413e3eb3ec" providerId="LiveId" clId="{E673EFDB-A2E9-4CAF-BD55-C38C1969773D}" dt="2021-04-20T00:54:35.429" v="2827" actId="478"/>
          <ac:spMkLst>
            <pc:docMk/>
            <pc:sldMk cId="3103422854" sldId="1457"/>
            <ac:spMk id="64" creationId="{97FA8DC5-FEEA-4778-B669-2E5F8EB1DEC4}"/>
          </ac:spMkLst>
        </pc:spChg>
        <pc:spChg chg="add mod">
          <ac:chgData name="Alex Wise" userId="840534413e3eb3ec" providerId="LiveId" clId="{E673EFDB-A2E9-4CAF-BD55-C38C1969773D}" dt="2021-04-20T00:54:39.772" v="2845" actId="1035"/>
          <ac:spMkLst>
            <pc:docMk/>
            <pc:sldMk cId="3103422854" sldId="1457"/>
            <ac:spMk id="65" creationId="{082A4E25-6B5A-4E01-B00C-D15A7D8D79C9}"/>
          </ac:spMkLst>
        </pc:spChg>
        <pc:spChg chg="add del">
          <ac:chgData name="Alex Wise" userId="840534413e3eb3ec" providerId="LiveId" clId="{E673EFDB-A2E9-4CAF-BD55-C38C1969773D}" dt="2021-04-19T23:51:36.745" v="467" actId="478"/>
          <ac:spMkLst>
            <pc:docMk/>
            <pc:sldMk cId="3103422854" sldId="1457"/>
            <ac:spMk id="66" creationId="{3ADC1C72-77B9-48B2-A74C-95809323BF57}"/>
          </ac:spMkLst>
        </pc:spChg>
        <pc:spChg chg="mod">
          <ac:chgData name="Alex Wise" userId="840534413e3eb3ec" providerId="LiveId" clId="{E673EFDB-A2E9-4CAF-BD55-C38C1969773D}" dt="2021-04-20T00:11:32.606" v="946" actId="1037"/>
          <ac:spMkLst>
            <pc:docMk/>
            <pc:sldMk cId="3103422854" sldId="1457"/>
            <ac:spMk id="73" creationId="{FAAD75F5-B4BF-BB47-8257-C73EDD54E3C7}"/>
          </ac:spMkLst>
        </pc:spChg>
        <pc:spChg chg="mod">
          <ac:chgData name="Alex Wise" userId="840534413e3eb3ec" providerId="LiveId" clId="{E673EFDB-A2E9-4CAF-BD55-C38C1969773D}" dt="2021-04-20T00:11:32.606" v="946" actId="1037"/>
          <ac:spMkLst>
            <pc:docMk/>
            <pc:sldMk cId="3103422854" sldId="1457"/>
            <ac:spMk id="74" creationId="{730D52D9-572E-5240-91DE-4BDAFB769658}"/>
          </ac:spMkLst>
        </pc:spChg>
        <pc:spChg chg="mod">
          <ac:chgData name="Alex Wise" userId="840534413e3eb3ec" providerId="LiveId" clId="{E673EFDB-A2E9-4CAF-BD55-C38C1969773D}" dt="2021-04-20T00:11:32.606" v="946" actId="1037"/>
          <ac:spMkLst>
            <pc:docMk/>
            <pc:sldMk cId="3103422854" sldId="1457"/>
            <ac:spMk id="75" creationId="{101EDF4B-7DF0-5F4C-B08E-A77C42999817}"/>
          </ac:spMkLst>
        </pc:spChg>
        <pc:spChg chg="mod">
          <ac:chgData name="Alex Wise" userId="840534413e3eb3ec" providerId="LiveId" clId="{E673EFDB-A2E9-4CAF-BD55-C38C1969773D}" dt="2021-04-20T00:12:06.826" v="981" actId="1037"/>
          <ac:spMkLst>
            <pc:docMk/>
            <pc:sldMk cId="3103422854" sldId="1457"/>
            <ac:spMk id="76" creationId="{B20538D8-B2E8-DB4F-AD05-4846EF6441C6}"/>
          </ac:spMkLst>
        </pc:spChg>
        <pc:spChg chg="mod">
          <ac:chgData name="Alex Wise" userId="840534413e3eb3ec" providerId="LiveId" clId="{E673EFDB-A2E9-4CAF-BD55-C38C1969773D}" dt="2021-04-20T00:40:18.094" v="2569" actId="20577"/>
          <ac:spMkLst>
            <pc:docMk/>
            <pc:sldMk cId="3103422854" sldId="1457"/>
            <ac:spMk id="77" creationId="{8DCDBA8B-8176-7F45-89B9-A1C6F12B6AE9}"/>
          </ac:spMkLst>
        </pc:spChg>
        <pc:spChg chg="mod">
          <ac:chgData name="Alex Wise" userId="840534413e3eb3ec" providerId="LiveId" clId="{E673EFDB-A2E9-4CAF-BD55-C38C1969773D}" dt="2021-04-20T00:40:29.765" v="2578" actId="20577"/>
          <ac:spMkLst>
            <pc:docMk/>
            <pc:sldMk cId="3103422854" sldId="1457"/>
            <ac:spMk id="79" creationId="{972B5058-EDCD-7A40-948F-CE23DEA9118D}"/>
          </ac:spMkLst>
        </pc:spChg>
        <pc:spChg chg="add mod">
          <ac:chgData name="Alex Wise" userId="840534413e3eb3ec" providerId="LiveId" clId="{E673EFDB-A2E9-4CAF-BD55-C38C1969773D}" dt="2021-04-20T00:54:39.772" v="2845" actId="1035"/>
          <ac:spMkLst>
            <pc:docMk/>
            <pc:sldMk cId="3103422854" sldId="1457"/>
            <ac:spMk id="81" creationId="{42742E5D-B9EE-49C8-B693-EDB233E0CB69}"/>
          </ac:spMkLst>
        </pc:spChg>
        <pc:spChg chg="add mod">
          <ac:chgData name="Alex Wise" userId="840534413e3eb3ec" providerId="LiveId" clId="{E673EFDB-A2E9-4CAF-BD55-C38C1969773D}" dt="2021-04-20T00:54:58.165" v="2871" actId="20577"/>
          <ac:spMkLst>
            <pc:docMk/>
            <pc:sldMk cId="3103422854" sldId="1457"/>
            <ac:spMk id="82" creationId="{5671E752-8868-4B88-A9E7-8B211E4BCE26}"/>
          </ac:spMkLst>
        </pc:spChg>
        <pc:spChg chg="add mod">
          <ac:chgData name="Alex Wise" userId="840534413e3eb3ec" providerId="LiveId" clId="{E673EFDB-A2E9-4CAF-BD55-C38C1969773D}" dt="2021-04-20T00:55:44.861" v="2894" actId="20577"/>
          <ac:spMkLst>
            <pc:docMk/>
            <pc:sldMk cId="3103422854" sldId="1457"/>
            <ac:spMk id="83" creationId="{E7FEC5F2-A11E-439B-BD57-5B7B9DD2A9F1}"/>
          </ac:spMkLst>
        </pc:spChg>
        <pc:spChg chg="mod">
          <ac:chgData name="Alex Wise" userId="840534413e3eb3ec" providerId="LiveId" clId="{E673EFDB-A2E9-4CAF-BD55-C38C1969773D}" dt="2021-04-20T00:39:51.517" v="2546" actId="20577"/>
          <ac:spMkLst>
            <pc:docMk/>
            <pc:sldMk cId="3103422854" sldId="1457"/>
            <ac:spMk id="99" creationId="{08E0150D-A724-465F-81E1-D49CEE03BBAB}"/>
          </ac:spMkLst>
        </pc:spChg>
        <pc:spChg chg="mod">
          <ac:chgData name="Alex Wise" userId="840534413e3eb3ec" providerId="LiveId" clId="{E673EFDB-A2E9-4CAF-BD55-C38C1969773D}" dt="2021-04-20T00:39:54.653" v="2549" actId="20577"/>
          <ac:spMkLst>
            <pc:docMk/>
            <pc:sldMk cId="3103422854" sldId="1457"/>
            <ac:spMk id="100" creationId="{970D0698-F159-470C-BF1E-22787F28AA9D}"/>
          </ac:spMkLst>
        </pc:spChg>
        <pc:spChg chg="mod">
          <ac:chgData name="Alex Wise" userId="840534413e3eb3ec" providerId="LiveId" clId="{E673EFDB-A2E9-4CAF-BD55-C38C1969773D}" dt="2021-04-20T00:39:57.972" v="2552" actId="20577"/>
          <ac:spMkLst>
            <pc:docMk/>
            <pc:sldMk cId="3103422854" sldId="1457"/>
            <ac:spMk id="123" creationId="{847B7F3F-79FE-4A99-AB8B-296A572B4183}"/>
          </ac:spMkLst>
        </pc:spChg>
        <pc:grpChg chg="mod">
          <ac:chgData name="Alex Wise" userId="840534413e3eb3ec" providerId="LiveId" clId="{E673EFDB-A2E9-4CAF-BD55-C38C1969773D}" dt="2021-04-20T00:48:57.349" v="2800" actId="1036"/>
          <ac:grpSpMkLst>
            <pc:docMk/>
            <pc:sldMk cId="3103422854" sldId="1457"/>
            <ac:grpSpMk id="2" creationId="{07EB37D1-3845-4640-A4A7-38C548DE7914}"/>
          </ac:grpSpMkLst>
        </pc:grpChg>
        <pc:picChg chg="add del">
          <ac:chgData name="Alex Wise" userId="840534413e3eb3ec" providerId="LiveId" clId="{E673EFDB-A2E9-4CAF-BD55-C38C1969773D}" dt="2021-04-19T23:51:36.918" v="468" actId="478"/>
          <ac:picMkLst>
            <pc:docMk/>
            <pc:sldMk cId="3103422854" sldId="1457"/>
            <ac:picMk id="62" creationId="{C1F217D1-DCE2-FB4A-ADA5-C8D5D5D2B9B0}"/>
          </ac:picMkLst>
        </pc:picChg>
        <pc:picChg chg="add del">
          <ac:chgData name="Alex Wise" userId="840534413e3eb3ec" providerId="LiveId" clId="{E673EFDB-A2E9-4CAF-BD55-C38C1969773D}" dt="2021-04-19T23:51:38.212" v="476" actId="478"/>
          <ac:picMkLst>
            <pc:docMk/>
            <pc:sldMk cId="3103422854" sldId="1457"/>
            <ac:picMk id="67" creationId="{C2E4AFA1-F1A3-A24D-964C-1A708F618B00}"/>
          </ac:picMkLst>
        </pc:picChg>
        <pc:picChg chg="add del">
          <ac:chgData name="Alex Wise" userId="840534413e3eb3ec" providerId="LiveId" clId="{E673EFDB-A2E9-4CAF-BD55-C38C1969773D}" dt="2021-04-19T23:51:38.662" v="478" actId="478"/>
          <ac:picMkLst>
            <pc:docMk/>
            <pc:sldMk cId="3103422854" sldId="1457"/>
            <ac:picMk id="68" creationId="{C0569314-DD78-A645-B1DD-91C07F0FFBC4}"/>
          </ac:picMkLst>
        </pc:picChg>
        <pc:picChg chg="add del">
          <ac:chgData name="Alex Wise" userId="840534413e3eb3ec" providerId="LiveId" clId="{E673EFDB-A2E9-4CAF-BD55-C38C1969773D}" dt="2021-04-19T23:51:37.571" v="472" actId="478"/>
          <ac:picMkLst>
            <pc:docMk/>
            <pc:sldMk cId="3103422854" sldId="1457"/>
            <ac:picMk id="69" creationId="{950A2021-5951-834A-B5F8-1BF2A1D27C39}"/>
          </ac:picMkLst>
        </pc:picChg>
        <pc:picChg chg="add del">
          <ac:chgData name="Alex Wise" userId="840534413e3eb3ec" providerId="LiveId" clId="{E673EFDB-A2E9-4CAF-BD55-C38C1969773D}" dt="2021-04-19T23:51:37.879" v="474" actId="478"/>
          <ac:picMkLst>
            <pc:docMk/>
            <pc:sldMk cId="3103422854" sldId="1457"/>
            <ac:picMk id="70" creationId="{0BBB8267-767C-8040-8FAA-DC07C88CC277}"/>
          </ac:picMkLst>
        </pc:picChg>
        <pc:picChg chg="del">
          <ac:chgData name="Alex Wise" userId="840534413e3eb3ec" providerId="LiveId" clId="{E673EFDB-A2E9-4CAF-BD55-C38C1969773D}" dt="2021-04-19T23:51:41.582" v="480" actId="478"/>
          <ac:picMkLst>
            <pc:docMk/>
            <pc:sldMk cId="3103422854" sldId="1457"/>
            <ac:picMk id="71" creationId="{0AF96DCC-82DF-4F6C-A930-D3AF9E9CABED}"/>
          </ac:picMkLst>
        </pc:picChg>
        <pc:picChg chg="add del">
          <ac:chgData name="Alex Wise" userId="840534413e3eb3ec" providerId="LiveId" clId="{E673EFDB-A2E9-4CAF-BD55-C38C1969773D}" dt="2021-04-19T23:51:37.250" v="470" actId="478"/>
          <ac:picMkLst>
            <pc:docMk/>
            <pc:sldMk cId="3103422854" sldId="1457"/>
            <ac:picMk id="72" creationId="{31E13997-DAE3-3F4D-BE23-802A7B0582EB}"/>
          </ac:picMkLst>
        </pc:picChg>
        <pc:cxnChg chg="mod">
          <ac:chgData name="Alex Wise" userId="840534413e3eb3ec" providerId="LiveId" clId="{E673EFDB-A2E9-4CAF-BD55-C38C1969773D}" dt="2021-04-20T00:42:18.739" v="2616" actId="1076"/>
          <ac:cxnSpMkLst>
            <pc:docMk/>
            <pc:sldMk cId="3103422854" sldId="1457"/>
            <ac:cxnSpMk id="13" creationId="{ECD30EF0-68F5-4CA3-89E9-84A2A26369F3}"/>
          </ac:cxnSpMkLst>
        </pc:cxnChg>
      </pc:sldChg>
      <pc:sldChg chg="addSp delSp modSp mod ord">
        <pc:chgData name="Alex Wise" userId="840534413e3eb3ec" providerId="LiveId" clId="{E673EFDB-A2E9-4CAF-BD55-C38C1969773D}" dt="2021-04-20T00:51:16.782" v="2805" actId="1076"/>
        <pc:sldMkLst>
          <pc:docMk/>
          <pc:sldMk cId="2834139938" sldId="4255"/>
        </pc:sldMkLst>
        <pc:spChg chg="mod">
          <ac:chgData name="Alex Wise" userId="840534413e3eb3ec" providerId="LiveId" clId="{E673EFDB-A2E9-4CAF-BD55-C38C1969773D}" dt="2021-04-20T00:47:49.957" v="2752" actId="1036"/>
          <ac:spMkLst>
            <pc:docMk/>
            <pc:sldMk cId="2834139938" sldId="4255"/>
            <ac:spMk id="16" creationId="{D494A936-80BE-4DC2-8B5C-B0389ACE6F1F}"/>
          </ac:spMkLst>
        </pc:spChg>
        <pc:spChg chg="mod">
          <ac:chgData name="Alex Wise" userId="840534413e3eb3ec" providerId="LiveId" clId="{E673EFDB-A2E9-4CAF-BD55-C38C1969773D}" dt="2021-04-20T00:47:49.957" v="2752" actId="1036"/>
          <ac:spMkLst>
            <pc:docMk/>
            <pc:sldMk cId="2834139938" sldId="4255"/>
            <ac:spMk id="21" creationId="{CF186DA3-E131-412E-8F9B-9B134DEB00A9}"/>
          </ac:spMkLst>
        </pc:spChg>
        <pc:spChg chg="del mod">
          <ac:chgData name="Alex Wise" userId="840534413e3eb3ec" providerId="LiveId" clId="{E673EFDB-A2E9-4CAF-BD55-C38C1969773D}" dt="2021-04-20T00:35:47.877" v="2445" actId="478"/>
          <ac:spMkLst>
            <pc:docMk/>
            <pc:sldMk cId="2834139938" sldId="4255"/>
            <ac:spMk id="25" creationId="{50D36FA5-B956-45B0-ACD2-C24E4745905A}"/>
          </ac:spMkLst>
        </pc:spChg>
        <pc:spChg chg="mod">
          <ac:chgData name="Alex Wise" userId="840534413e3eb3ec" providerId="LiveId" clId="{E673EFDB-A2E9-4CAF-BD55-C38C1969773D}" dt="2021-04-20T00:47:49.957" v="2752" actId="1036"/>
          <ac:spMkLst>
            <pc:docMk/>
            <pc:sldMk cId="2834139938" sldId="4255"/>
            <ac:spMk id="29" creationId="{DA71739B-8F3D-4F76-BD80-4E6B8FBFEE77}"/>
          </ac:spMkLst>
        </pc:spChg>
        <pc:spChg chg="del">
          <ac:chgData name="Alex Wise" userId="840534413e3eb3ec" providerId="LiveId" clId="{E673EFDB-A2E9-4CAF-BD55-C38C1969773D}" dt="2021-04-20T00:18:34.366" v="1191" actId="478"/>
          <ac:spMkLst>
            <pc:docMk/>
            <pc:sldMk cId="2834139938" sldId="4255"/>
            <ac:spMk id="35" creationId="{B3615C2D-21BA-447B-80C3-8EBFAF419B69}"/>
          </ac:spMkLst>
        </pc:spChg>
        <pc:graphicFrameChg chg="modGraphic">
          <ac:chgData name="Alex Wise" userId="840534413e3eb3ec" providerId="LiveId" clId="{E673EFDB-A2E9-4CAF-BD55-C38C1969773D}" dt="2021-04-20T00:19:58.581" v="1497" actId="20577"/>
          <ac:graphicFrameMkLst>
            <pc:docMk/>
            <pc:sldMk cId="2834139938" sldId="4255"/>
            <ac:graphicFrameMk id="11" creationId="{27CA79E5-6189-4BA9-B3BF-16EDDE13DE6A}"/>
          </ac:graphicFrameMkLst>
        </pc:graphicFrameChg>
        <pc:picChg chg="del">
          <ac:chgData name="Alex Wise" userId="840534413e3eb3ec" providerId="LiveId" clId="{E673EFDB-A2E9-4CAF-BD55-C38C1969773D}" dt="2021-04-20T00:31:08.269" v="2150" actId="478"/>
          <ac:picMkLst>
            <pc:docMk/>
            <pc:sldMk cId="2834139938" sldId="4255"/>
            <ac:picMk id="19" creationId="{0178FBC3-C9E6-43BF-8373-EDF1B5921223}"/>
          </ac:picMkLst>
        </pc:picChg>
        <pc:picChg chg="add del mod">
          <ac:chgData name="Alex Wise" userId="840534413e3eb3ec" providerId="LiveId" clId="{E673EFDB-A2E9-4CAF-BD55-C38C1969773D}" dt="2021-04-20T00:50:59.173" v="2801" actId="478"/>
          <ac:picMkLst>
            <pc:docMk/>
            <pc:sldMk cId="2834139938" sldId="4255"/>
            <ac:picMk id="22" creationId="{19FAB541-ED60-4698-9F26-F1C35FCF4068}"/>
          </ac:picMkLst>
        </pc:picChg>
        <pc:picChg chg="add mod">
          <ac:chgData name="Alex Wise" userId="840534413e3eb3ec" providerId="LiveId" clId="{E673EFDB-A2E9-4CAF-BD55-C38C1969773D}" dt="2021-04-20T00:51:16.782" v="2805" actId="1076"/>
          <ac:picMkLst>
            <pc:docMk/>
            <pc:sldMk cId="2834139938" sldId="4255"/>
            <ac:picMk id="23" creationId="{D9043F41-29A6-4F43-8CDD-3E59FD9D4755}"/>
          </ac:picMkLst>
        </pc:picChg>
        <pc:picChg chg="del">
          <ac:chgData name="Alex Wise" userId="840534413e3eb3ec" providerId="LiveId" clId="{E673EFDB-A2E9-4CAF-BD55-C38C1969773D}" dt="2021-04-20T00:35:50.229" v="2446" actId="478"/>
          <ac:picMkLst>
            <pc:docMk/>
            <pc:sldMk cId="2834139938" sldId="4255"/>
            <ac:picMk id="37" creationId="{4F8D349C-989E-4AE2-BA39-E8EF23546B60}"/>
          </ac:picMkLst>
        </pc:picChg>
        <pc:picChg chg="mod">
          <ac:chgData name="Alex Wise" userId="840534413e3eb3ec" providerId="LiveId" clId="{E673EFDB-A2E9-4CAF-BD55-C38C1969773D}" dt="2021-04-20T00:51:11.809" v="2804" actId="14100"/>
          <ac:picMkLst>
            <pc:docMk/>
            <pc:sldMk cId="2834139938" sldId="4255"/>
            <ac:picMk id="38" creationId="{2E78A9AC-937B-4BC8-AF7B-E57BD54F8C52}"/>
          </ac:picMkLst>
        </pc:picChg>
        <pc:picChg chg="mod">
          <ac:chgData name="Alex Wise" userId="840534413e3eb3ec" providerId="LiveId" clId="{E673EFDB-A2E9-4CAF-BD55-C38C1969773D}" dt="2021-04-20T00:51:07.764" v="2803" actId="14100"/>
          <ac:picMkLst>
            <pc:docMk/>
            <pc:sldMk cId="2834139938" sldId="4255"/>
            <ac:picMk id="39" creationId="{F1ED8F50-9A1B-4789-9101-3CA6296EE119}"/>
          </ac:picMkLst>
        </pc:picChg>
      </pc:sldChg>
      <pc:sldChg chg="modSp mod modNotesTx">
        <pc:chgData name="Alex Wise" userId="840534413e3eb3ec" providerId="LiveId" clId="{E673EFDB-A2E9-4CAF-BD55-C38C1969773D}" dt="2021-04-20T00:33:44.542" v="2444" actId="20577"/>
        <pc:sldMkLst>
          <pc:docMk/>
          <pc:sldMk cId="3891324679" sldId="4262"/>
        </pc:sldMkLst>
        <pc:spChg chg="mod">
          <ac:chgData name="Alex Wise" userId="840534413e3eb3ec" providerId="LiveId" clId="{E673EFDB-A2E9-4CAF-BD55-C38C1969773D}" dt="2021-04-20T00:33:44.542" v="2444" actId="20577"/>
          <ac:spMkLst>
            <pc:docMk/>
            <pc:sldMk cId="3891324679" sldId="4262"/>
            <ac:spMk id="5" creationId="{1029405C-2954-407F-968E-0E9B8107B001}"/>
          </ac:spMkLst>
        </pc:spChg>
      </pc:sldChg>
      <pc:sldChg chg="del ord modNotesTx">
        <pc:chgData name="Alex Wise" userId="840534413e3eb3ec" providerId="LiveId" clId="{E673EFDB-A2E9-4CAF-BD55-C38C1969773D}" dt="2021-04-19T23:49:57.063" v="426" actId="47"/>
        <pc:sldMkLst>
          <pc:docMk/>
          <pc:sldMk cId="3867198644" sldId="4271"/>
        </pc:sldMkLst>
      </pc:sldChg>
      <pc:sldChg chg="del">
        <pc:chgData name="Alex Wise" userId="840534413e3eb3ec" providerId="LiveId" clId="{E673EFDB-A2E9-4CAF-BD55-C38C1969773D}" dt="2021-04-20T00:25:55.022" v="1800" actId="47"/>
        <pc:sldMkLst>
          <pc:docMk/>
          <pc:sldMk cId="3344111802" sldId="4273"/>
        </pc:sldMkLst>
      </pc:sldChg>
      <pc:sldChg chg="delSp modSp new mod">
        <pc:chgData name="Alex Wise" userId="840534413e3eb3ec" providerId="LiveId" clId="{E673EFDB-A2E9-4CAF-BD55-C38C1969773D}" dt="2021-04-20T02:01:49.843" v="2935" actId="20577"/>
        <pc:sldMkLst>
          <pc:docMk/>
          <pc:sldMk cId="3552195715" sldId="4274"/>
        </pc:sldMkLst>
        <pc:spChg chg="del">
          <ac:chgData name="Alex Wise" userId="840534413e3eb3ec" providerId="LiveId" clId="{E673EFDB-A2E9-4CAF-BD55-C38C1969773D}" dt="2021-04-20T00:02:13.879" v="817" actId="478"/>
          <ac:spMkLst>
            <pc:docMk/>
            <pc:sldMk cId="3552195715" sldId="4274"/>
            <ac:spMk id="2" creationId="{D80D2EE2-2453-4E74-822C-AE44A7947560}"/>
          </ac:spMkLst>
        </pc:spChg>
        <pc:spChg chg="mod">
          <ac:chgData name="Alex Wise" userId="840534413e3eb3ec" providerId="LiveId" clId="{E673EFDB-A2E9-4CAF-BD55-C38C1969773D}" dt="2021-04-20T02:01:49.843" v="2935" actId="20577"/>
          <ac:spMkLst>
            <pc:docMk/>
            <pc:sldMk cId="3552195715" sldId="4274"/>
            <ac:spMk id="4" creationId="{9A51B892-AA72-40B9-AC8A-05BE64B0217E}"/>
          </ac:spMkLst>
        </pc:spChg>
        <pc:spChg chg="mod">
          <ac:chgData name="Alex Wise" userId="840534413e3eb3ec" providerId="LiveId" clId="{E673EFDB-A2E9-4CAF-BD55-C38C1969773D}" dt="2021-04-20T00:31:55.139" v="2175" actId="20577"/>
          <ac:spMkLst>
            <pc:docMk/>
            <pc:sldMk cId="3552195715" sldId="4274"/>
            <ac:spMk id="5" creationId="{045B8B9F-D6E0-40D0-804E-1512F318E5AD}"/>
          </ac:spMkLst>
        </pc:spChg>
      </pc:sldChg>
      <pc:sldChg chg="delSp modSp add mod modNotesTx">
        <pc:chgData name="Alex Wise" userId="840534413e3eb3ec" providerId="LiveId" clId="{E673EFDB-A2E9-4CAF-BD55-C38C1969773D}" dt="2021-04-20T00:43:27.117" v="2731" actId="20577"/>
        <pc:sldMkLst>
          <pc:docMk/>
          <pc:sldMk cId="3749372390" sldId="4275"/>
        </pc:sldMkLst>
        <pc:spChg chg="del">
          <ac:chgData name="Alex Wise" userId="840534413e3eb3ec" providerId="LiveId" clId="{E673EFDB-A2E9-4CAF-BD55-C38C1969773D}" dt="2021-04-20T00:02:16.669" v="818" actId="478"/>
          <ac:spMkLst>
            <pc:docMk/>
            <pc:sldMk cId="3749372390" sldId="4275"/>
            <ac:spMk id="2" creationId="{D80D2EE2-2453-4E74-822C-AE44A7947560}"/>
          </ac:spMkLst>
        </pc:spChg>
        <pc:spChg chg="mod">
          <ac:chgData name="Alex Wise" userId="840534413e3eb3ec" providerId="LiveId" clId="{E673EFDB-A2E9-4CAF-BD55-C38C1969773D}" dt="2021-04-20T00:32:11.718" v="2199" actId="20577"/>
          <ac:spMkLst>
            <pc:docMk/>
            <pc:sldMk cId="3749372390" sldId="4275"/>
            <ac:spMk id="5" creationId="{045B8B9F-D6E0-40D0-804E-1512F318E5AD}"/>
          </ac:spMkLst>
        </pc:spChg>
      </pc:sldChg>
      <pc:sldMasterChg chg="delSldLayout">
        <pc:chgData name="Alex Wise" userId="840534413e3eb3ec" providerId="LiveId" clId="{E673EFDB-A2E9-4CAF-BD55-C38C1969773D}" dt="2021-04-18T19:14:04.162" v="28" actId="47"/>
        <pc:sldMasterMkLst>
          <pc:docMk/>
          <pc:sldMasterMk cId="4220988333" sldId="2147483691"/>
        </pc:sldMasterMkLst>
        <pc:sldLayoutChg chg="del">
          <pc:chgData name="Alex Wise" userId="840534413e3eb3ec" providerId="LiveId" clId="{E673EFDB-A2E9-4CAF-BD55-C38C1969773D}" dt="2021-04-18T19:14:04.162" v="28" actId="47"/>
          <pc:sldLayoutMkLst>
            <pc:docMk/>
            <pc:sldMasterMk cId="4220988333" sldId="2147483691"/>
            <pc:sldLayoutMk cId="2728694898" sldId="2147483755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317E96-041F-4A33-AF3A-275096350F24}" type="datetime1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4/21/2021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McKesson Proprietary and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942BF5-BA91-4F70-95E8-DACF8CF6183C}" type="slidenum">
              <a:rPr lang="en-US" sz="10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0802020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B8B8CD-F4D7-423F-966E-8A058DF60DFE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EF14C7-72B9-1B46-9114-4453611BBF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334448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05409AE7-6877-4C14-86F0-BB63E25A6E0D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6428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8057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lvl="0" indent="0">
              <a:buFont typeface="Arial" panose="020B0604020202020204" pitchFamily="34" charset="0"/>
              <a:buNone/>
            </a:pPr>
            <a:r>
              <a:rPr lang="en-US" dirty="0"/>
              <a:t>A contract is entered into between a customer and manufacturer, however the product is purchased from McKesson. The contract price is less than McKesson’s acquisition cost, leading to the need for a reimbursement, which varies from customer to custom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81F3745-21A8-454A-AB32-6BAF5B65ED5C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45599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4412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5072E59-2F8B-461A-9CDC-D10CC495342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68257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E2C0EDC-BB15-456C-9B8A-5DBA9FA20762}"/>
              </a:ext>
            </a:extLst>
          </p:cNvPr>
          <p:cNvSpPr txBox="1">
            <a:spLocks/>
          </p:cNvSpPr>
          <p:nvPr/>
        </p:nvSpPr>
        <p:spPr>
          <a:xfrm>
            <a:off x="3970942" y="8829967"/>
            <a:ext cx="3037840" cy="466433"/>
          </a:xfrm>
          <a:prstGeom prst="rect">
            <a:avLst/>
          </a:prstGeom>
        </p:spPr>
        <p:txBody>
          <a:bodyPr vert="horz" lIns="93153" tIns="46574" rIns="93153" bIns="46574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982009-74FC-4E18-8BF5-11BFC2323FF3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D252266-3CFA-4CD9-8C7E-C0CF0C4A755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2" y="8829967"/>
            <a:ext cx="3037840" cy="466433"/>
          </a:xfrm>
        </p:spPr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42C2754D-65DE-44B1-BDFD-3478F866CD2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0942" y="2"/>
            <a:ext cx="3037840" cy="466434"/>
          </a:xfrm>
        </p:spPr>
        <p:txBody>
          <a:bodyPr/>
          <a:lstStyle/>
          <a:p>
            <a:fld id="{EE032E31-25FA-5843-9B22-66794CE8E083}" type="datetime1">
              <a:rPr lang="en-US" smtClean="0"/>
              <a:t>4/2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0041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Precision – What proportion of positive identifications were actually correct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Recall – What proportion of actual positives were identified correctly?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Didn’t use PCA to make sure data is easy to interpret by manage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Used feature importance to keep </a:t>
            </a:r>
            <a:r>
              <a:rPr lang="en-US" sz="1000"/>
              <a:t>scaling down</a:t>
            </a:r>
            <a:endParaRPr lang="en-US" sz="1000" dirty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58B8B8CD-F4D7-423F-966E-8A058DF60DFE}" type="datetime1">
              <a:rPr lang="en-US" smtClean="0"/>
              <a:t>4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McKesson Proprietary and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701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96002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EE032E31-25FA-5843-9B22-66794CE8E083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F14C7-72B9-1B46-9114-4453611BBF43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858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5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hite - Triangl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9999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exagon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9CA356C-3E76-4361-8A29-C4D3A3799A48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1" cy="685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67772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Hexagon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1" cy="6854571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626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Hexagon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800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Curv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1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8301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Curv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12181168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7795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urv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F95C05F-96E7-4A44-BBF7-5CCA7ADEC192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88849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Curv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5D0804D-3253-4D0C-8E4C-04BBAE4EBC72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714"/>
            <a:ext cx="12181169" cy="685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9343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Curve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714"/>
            <a:ext cx="12181169" cy="6854571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136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Curve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0342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3E81DC0-083F-46F7-A159-A864F704612E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881322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Triangl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5040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751527"/>
            <a:ext cx="11582400" cy="4275786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92100" y="6019800"/>
            <a:ext cx="5801784" cy="457200"/>
          </a:xfrm>
        </p:spPr>
        <p:txBody>
          <a:bodyPr anchor="b"/>
          <a:lstStyle>
            <a:lvl1pPr>
              <a:lnSpc>
                <a:spcPts val="1000"/>
              </a:lnSpc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DBBF9-841E-4DBE-9D68-070720FCDF71}" type="datetime1">
              <a:rPr lang="en-US" smtClean="0"/>
              <a:t>4/21/2021</a:t>
            </a:fld>
            <a:endParaRPr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cKesson Proprietary and Confidential</a:t>
            </a:r>
            <a:endParaRPr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8F8A63-BEFA-4113-BAB7-0C57610C953A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778953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609E2-6948-4DB6-8642-3F4966292C18}" type="datetime1">
              <a:rPr lang="en-US" smtClean="0">
                <a:solidFill>
                  <a:srgbClr val="005A8C"/>
                </a:solidFill>
              </a:rPr>
              <a:t>4/21/2021</a:t>
            </a:fld>
            <a:endParaRPr dirty="0">
              <a:solidFill>
                <a:srgbClr val="005A8C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ts val="1164"/>
              </a:lnSpc>
              <a:defRPr/>
            </a:lvl1pPr>
          </a:lstStyle>
          <a:p>
            <a:r>
              <a:rPr lang="en-US" dirty="0">
                <a:solidFill>
                  <a:srgbClr val="005A8C"/>
                </a:solidFill>
              </a:rPr>
              <a:t>McKesson Proprietary and Confidential</a:t>
            </a:r>
            <a:endParaRPr dirty="0">
              <a:solidFill>
                <a:srgbClr val="005A8C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DE8F2-FE9F-4322-A945-8EFB995C108B}" type="slidenum">
              <a:rPr>
                <a:solidFill>
                  <a:srgbClr val="005A8C"/>
                </a:solidFill>
              </a:rPr>
              <a:pPr/>
              <a:t>‹#›</a:t>
            </a:fld>
            <a:endParaRPr dirty="0">
              <a:solidFill>
                <a:srgbClr val="005A8C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304800" y="685800"/>
            <a:ext cx="11582400" cy="457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dirty="0"/>
            </a:lvl1pPr>
          </a:lstStyle>
          <a:p>
            <a:pPr lvl="0">
              <a:lnSpc>
                <a:spcPts val="3954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04800" y="1143000"/>
            <a:ext cx="11582400" cy="4572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755" dirty="0">
                <a:solidFill>
                  <a:schemeClr val="bg2"/>
                </a:solidFill>
                <a:ea typeface="+mj-ea"/>
              </a:defRPr>
            </a:lvl1pPr>
          </a:lstStyle>
          <a:p>
            <a:pPr lvl="0">
              <a:lnSpc>
                <a:spcPts val="3954"/>
              </a:lnSpc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353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la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88746A"/>
                </a:solidFill>
              </a:defRPr>
            </a:lvl1pPr>
          </a:lstStyle>
          <a:p>
            <a:fld id="{0F8E20AF-A5CA-449B-87BE-6387B4C6D14D}" type="datetime1">
              <a:rPr lang="en-US" smtClean="0"/>
              <a:t>4/21/2021</a:t>
            </a:fld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8746A"/>
                </a:solidFill>
              </a:defRPr>
            </a:lvl1pPr>
          </a:lstStyle>
          <a:p>
            <a:fld id="{B52DE8F2-FE9F-4322-A945-8EFB995C108B}" type="slidenum">
              <a:rPr smtClean="0"/>
              <a:pPr/>
              <a:t>‹#›</a:t>
            </a:fld>
            <a:endParaRPr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92100" y="704090"/>
            <a:ext cx="7693152" cy="380351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>
              <a:lnSpc>
                <a:spcPts val="3954"/>
              </a:lnSpc>
            </a:pPr>
            <a:r>
              <a:rPr lang="en-US" dirty="0"/>
              <a:t>Click to edit Master title style Arial 32/34</a:t>
            </a: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878"/>
            <a:ext cx="8851392" cy="365125"/>
          </a:xfrm>
          <a:prstGeom prst="rect">
            <a:avLst/>
          </a:prstGeom>
        </p:spPr>
        <p:txBody>
          <a:bodyPr vert="horz" lIns="57898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rgbClr val="88746A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/>
              <a:t>McKesson Proprietary and Confidential</a:t>
            </a:r>
            <a:endParaRPr b="0" dirty="0"/>
          </a:p>
        </p:txBody>
      </p:sp>
    </p:spTree>
    <p:extLst>
      <p:ext uri="{BB962C8B-B14F-4D97-AF65-F5344CB8AC3E}">
        <p14:creationId xmlns:p14="http://schemas.microsoft.com/office/powerpoint/2010/main" val="10686236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lay Slide color">
    <p:bg>
      <p:bgPr>
        <a:gradFill>
          <a:gsLst>
            <a:gs pos="0">
              <a:schemeClr val="tx2"/>
            </a:gs>
            <a:gs pos="50000">
              <a:schemeClr val="tx2"/>
            </a:gs>
            <a:gs pos="100000">
              <a:srgbClr val="00AAD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B168FD-5764-4D0B-9135-5498DBDCFE87}" type="datetime1">
              <a:rPr lang="en-US" smtClean="0">
                <a:solidFill>
                  <a:prstClr val="white"/>
                </a:solidFill>
              </a:rPr>
              <a:t>4/21/2021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2DE8F2-FE9F-4322-A945-8EFB995C108B}" type="slidenum">
              <a:rPr smtClean="0"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92101" y="688858"/>
            <a:ext cx="7988299" cy="4092575"/>
          </a:xfrm>
        </p:spPr>
        <p:txBody>
          <a:bodyPr anchor="t" anchorCtr="0"/>
          <a:lstStyle>
            <a:lvl1pPr>
              <a:lnSpc>
                <a:spcPts val="4651"/>
              </a:lnSpc>
              <a:defRPr sz="440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 Arial 32/34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92100" y="530352"/>
            <a:ext cx="11607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mck_logo_rgb_rev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917"/>
            <a:ext cx="8851392" cy="365125"/>
          </a:xfrm>
          <a:prstGeom prst="rect">
            <a:avLst/>
          </a:prstGeom>
        </p:spPr>
        <p:txBody>
          <a:bodyPr vert="horz" lIns="57562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>
                <a:solidFill>
                  <a:prstClr val="white"/>
                </a:solidFill>
              </a:rPr>
              <a:t>McKesson Proprietary and Confidential</a:t>
            </a:r>
            <a:endParaRPr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8335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bg>
      <p:bgPr>
        <a:gradFill>
          <a:gsLst>
            <a:gs pos="0">
              <a:schemeClr val="tx2"/>
            </a:gs>
            <a:gs pos="50000">
              <a:schemeClr val="tx2"/>
            </a:gs>
            <a:gs pos="100000">
              <a:srgbClr val="00AADC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2134" y="2807209"/>
            <a:ext cx="11607799" cy="98107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Divider title style Arial 32/34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0E243C-0963-41B8-B4C8-E347E8CA3A8A}" type="datetime1">
              <a:rPr lang="en-US" smtClean="0">
                <a:solidFill>
                  <a:prstClr val="white"/>
                </a:solidFill>
              </a:rPr>
              <a:t>4/21/2021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2DE8F2-FE9F-4322-A945-8EFB995C108B}" type="slidenum">
              <a:rPr smtClean="0"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92100" y="530352"/>
            <a:ext cx="11607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mck_logo_rgb_rev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0" y="6492917"/>
            <a:ext cx="8851392" cy="365125"/>
          </a:xfrm>
          <a:prstGeom prst="rect">
            <a:avLst/>
          </a:prstGeom>
        </p:spPr>
        <p:txBody>
          <a:bodyPr vert="horz" lIns="57562" tIns="0" rIns="0" bIns="0" rtlCol="0" anchor="ctr"/>
          <a:lstStyle>
            <a:lvl1pPr>
              <a:lnSpc>
                <a:spcPts val="1164"/>
              </a:lnSpc>
              <a:defRPr lang="en-US" sz="1010" b="1" baseline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286" dirty="0">
                <a:solidFill>
                  <a:prstClr val="white"/>
                </a:solidFill>
              </a:rPr>
              <a:t>McKesson Proprietary and Confidential</a:t>
            </a:r>
            <a:endParaRPr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6139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704" y="2130049"/>
            <a:ext cx="10362594" cy="14710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406" y="3886783"/>
            <a:ext cx="8533190" cy="1752406"/>
          </a:xfrm>
        </p:spPr>
        <p:txBody>
          <a:bodyPr/>
          <a:lstStyle>
            <a:lvl1pPr marL="0" indent="0" algn="ctr">
              <a:buNone/>
              <a:defRPr/>
            </a:lvl1pPr>
            <a:lvl2pPr marL="417207" indent="0" algn="ctr">
              <a:buNone/>
              <a:defRPr/>
            </a:lvl2pPr>
            <a:lvl3pPr marL="834410" indent="0" algn="ctr">
              <a:buNone/>
              <a:defRPr/>
            </a:lvl3pPr>
            <a:lvl4pPr marL="1251614" indent="0" algn="ctr">
              <a:buNone/>
              <a:defRPr/>
            </a:lvl4pPr>
            <a:lvl5pPr marL="1668817" indent="0" algn="ctr">
              <a:buNone/>
              <a:defRPr/>
            </a:lvl5pPr>
            <a:lvl6pPr marL="2086023" indent="0" algn="ctr">
              <a:buNone/>
              <a:defRPr/>
            </a:lvl6pPr>
            <a:lvl7pPr marL="2503224" indent="0" algn="ctr">
              <a:buNone/>
              <a:defRPr/>
            </a:lvl7pPr>
            <a:lvl8pPr marL="2920431" indent="0" algn="ctr">
              <a:buNone/>
              <a:defRPr/>
            </a:lvl8pPr>
            <a:lvl9pPr marL="333763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C93554-6F59-4CDE-943A-B5ECBD7D7E8C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cKesson Proprietary and 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51EE97-B81A-48F0-8702-ABE7174DF70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Picture 6" descr="mck_logo_rgb_pos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256032"/>
            <a:ext cx="1536192" cy="157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2282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64D97-5126-42B4-979F-10E2B637584F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  <a:prstGeom prst="rect">
            <a:avLst/>
          </a:prstGeo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ubhead"/>
          <p:cNvSpPr>
            <a:spLocks noGrp="1"/>
          </p:cNvSpPr>
          <p:nvPr>
            <p:ph type="body" sz="quarter" idx="14"/>
          </p:nvPr>
        </p:nvSpPr>
        <p:spPr>
          <a:xfrm>
            <a:off x="357188" y="895350"/>
            <a:ext cx="11483975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55403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12536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323AAB-B6A8-489B-9563-6C5CA35ECA06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87866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314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Triangle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764B447-1BE3-4665-82DA-5995DB4C2E29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McKesson-Triangle-Pattern_Text Slide-Blu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8000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Triangle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506C6D-77F3-418D-BF81-DBBF9FBEF6CB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2" cy="685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0536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 - Triangle Patter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"/>
            <a:ext cx="12181172" cy="6854572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 - Triangle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cKesson-Triangle-Pattern_Divider Slide-Orang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1172" cy="6858000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324768" y="2529590"/>
            <a:ext cx="7542465" cy="1810062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100000"/>
              </a:lnSpc>
              <a:defRPr sz="3600" b="0" i="1" baseline="0"/>
            </a:lvl1pPr>
          </a:lstStyle>
          <a:p>
            <a:r>
              <a:rPr lang="en-US" dirty="0"/>
              <a:t>Divider Slide Title </a:t>
            </a:r>
            <a:br>
              <a:rPr lang="en-US" dirty="0"/>
            </a:br>
            <a:r>
              <a:rPr lang="en-US" dirty="0"/>
              <a:t>Georgia Italic 3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5" name="McKesson 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53650" y="347661"/>
            <a:ext cx="1685763" cy="240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3588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Hexagon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261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1848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Hexagon Orang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03644" y="327876"/>
            <a:ext cx="1787843" cy="279837"/>
          </a:xfrm>
          <a:prstGeom prst="rect">
            <a:avLst/>
          </a:prstGeom>
        </p:spPr>
      </p:pic>
      <p:sp>
        <p:nvSpPr>
          <p:cNvPr id="8" name="Presenter 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57188" y="5099051"/>
            <a:ext cx="7542212" cy="3319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title: Arial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Presenter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357350" y="4692650"/>
            <a:ext cx="7542465" cy="31345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Presenter Name: Arial Bold 18/singl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7351" y="2529590"/>
            <a:ext cx="7542465" cy="1810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dirty="0"/>
              <a:t>Presentation Title Georgia Bold 36 pt. single spaced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0306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24">
          <p15:clr>
            <a:srgbClr val="FBAE40"/>
          </p15:clr>
        </p15:guide>
        <p15:guide id="4" pos="448">
          <p15:clr>
            <a:srgbClr val="FBAE40"/>
          </p15:clr>
        </p15:guide>
        <p15:guide id="5" pos="620">
          <p15:clr>
            <a:srgbClr val="FBAE40"/>
          </p15:clr>
        </p15:guide>
        <p15:guide id="6" pos="844">
          <p15:clr>
            <a:srgbClr val="FBAE40"/>
          </p15:clr>
        </p15:guide>
        <p15:guide id="7" pos="1240">
          <p15:clr>
            <a:srgbClr val="FBAE40"/>
          </p15:clr>
        </p15:guide>
        <p15:guide id="8" pos="1464">
          <p15:clr>
            <a:srgbClr val="FBAE40"/>
          </p15:clr>
        </p15:guide>
        <p15:guide id="9" pos="1864">
          <p15:clr>
            <a:srgbClr val="FBAE40"/>
          </p15:clr>
        </p15:guide>
        <p15:guide id="10" pos="2088">
          <p15:clr>
            <a:srgbClr val="FBAE40"/>
          </p15:clr>
        </p15:guide>
        <p15:guide id="11" pos="3724">
          <p15:clr>
            <a:srgbClr val="FBAE40"/>
          </p15:clr>
        </p15:guide>
        <p15:guide id="12" pos="3331">
          <p15:clr>
            <a:srgbClr val="FBAE40"/>
          </p15:clr>
        </p15:guide>
        <p15:guide id="13" pos="3104">
          <p15:clr>
            <a:srgbClr val="FBAE40"/>
          </p15:clr>
        </p15:guide>
        <p15:guide id="14" pos="2708">
          <p15:clr>
            <a:srgbClr val="FBAE40"/>
          </p15:clr>
        </p15:guide>
        <p15:guide id="15" pos="2484">
          <p15:clr>
            <a:srgbClr val="FBAE40"/>
          </p15:clr>
        </p15:guide>
        <p15:guide id="16" pos="3948">
          <p15:clr>
            <a:srgbClr val="FBAE40"/>
          </p15:clr>
        </p15:guide>
        <p15:guide id="17" pos="4348">
          <p15:clr>
            <a:srgbClr val="FBAE40"/>
          </p15:clr>
        </p15:guide>
        <p15:guide id="18" pos="4571">
          <p15:clr>
            <a:srgbClr val="FBAE40"/>
          </p15:clr>
        </p15:guide>
        <p15:guide id="19" pos="4968">
          <p15:clr>
            <a:srgbClr val="FBAE40"/>
          </p15:clr>
        </p15:guide>
        <p15:guide id="20" pos="5188">
          <p15:clr>
            <a:srgbClr val="FBAE40"/>
          </p15:clr>
        </p15:guide>
        <p15:guide id="21" pos="5588">
          <p15:clr>
            <a:srgbClr val="FBAE40"/>
          </p15:clr>
        </p15:guide>
        <p15:guide id="22" pos="5811">
          <p15:clr>
            <a:srgbClr val="FBAE40"/>
          </p15:clr>
        </p15:guide>
        <p15:guide id="23" pos="6208">
          <p15:clr>
            <a:srgbClr val="FBAE40"/>
          </p15:clr>
        </p15:guide>
        <p15:guide id="24" pos="6435">
          <p15:clr>
            <a:srgbClr val="FBAE40"/>
          </p15:clr>
        </p15:guide>
        <p15:guide id="25" pos="6831">
          <p15:clr>
            <a:srgbClr val="FBAE40"/>
          </p15:clr>
        </p15:guide>
        <p15:guide id="26" pos="7055">
          <p15:clr>
            <a:srgbClr val="FBAE40"/>
          </p15:clr>
        </p15:guide>
        <p15:guide id="27" pos="7228">
          <p15:clr>
            <a:srgbClr val="FBAE40"/>
          </p15:clr>
        </p15:guide>
        <p15:guide id="28" pos="745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exagon Blue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cKesson Proprietary and Confidentia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7F4066-49E4-414A-90B2-7ABE78478270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7188" y="1795463"/>
            <a:ext cx="11483975" cy="3966359"/>
          </a:xfrm>
        </p:spPr>
        <p:txBody>
          <a:bodyPr/>
          <a:lstStyle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117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79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401295" y="6344338"/>
            <a:ext cx="411480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McKesson Proprietary and Confidential</a:t>
            </a:r>
          </a:p>
        </p:txBody>
      </p:sp>
      <p:sp>
        <p:nvSpPr>
          <p:cNvPr id="4" name="Date Placeholder"/>
          <p:cNvSpPr>
            <a:spLocks noGrp="1"/>
          </p:cNvSpPr>
          <p:nvPr>
            <p:ph type="dt" sz="half" idx="2"/>
          </p:nvPr>
        </p:nvSpPr>
        <p:spPr>
          <a:xfrm>
            <a:off x="743193" y="6344338"/>
            <a:ext cx="627380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0CB35E-DF6A-4AB5-9B94-DD24C8388384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357351" y="6344338"/>
            <a:ext cx="355119" cy="1828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971C27-C87E-45F4-8EEB-007BFB32C23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McK Logo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0482263" y="6308367"/>
            <a:ext cx="1398205" cy="2188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7351" y="1794511"/>
            <a:ext cx="11484129" cy="39800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Level 1 bullet: Arial 22/single, 6 pt. paragraph spacing</a:t>
            </a:r>
          </a:p>
          <a:p>
            <a:pPr lvl="1"/>
            <a:r>
              <a:rPr lang="en-US" dirty="0"/>
              <a:t>Level 2 bullet: Arial 20/single 6 pt. paragraph spacing</a:t>
            </a:r>
          </a:p>
          <a:p>
            <a:pPr lvl="2"/>
            <a:r>
              <a:rPr lang="en-US" dirty="0"/>
              <a:t>Level 3 bullet: Arial 18/single, 6 pt. paragraph spacing</a:t>
            </a:r>
          </a:p>
          <a:p>
            <a:pPr lvl="3"/>
            <a:r>
              <a:rPr lang="en-US" dirty="0"/>
              <a:t>Level 4 bullet: Arial 16/single, 6 pt. paragraph spacing</a:t>
            </a:r>
          </a:p>
          <a:p>
            <a:pPr lvl="4"/>
            <a:r>
              <a:rPr lang="en-US" dirty="0"/>
              <a:t>Level 5 bullet: Arial 14/single, 6 pt. paragraph spacing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7351" y="346075"/>
            <a:ext cx="11484129" cy="3634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Slide Title, Georgia Bold 34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988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9" r:id="rId2"/>
    <p:sldLayoutId id="2147483721" r:id="rId3"/>
    <p:sldLayoutId id="2147483730" r:id="rId4"/>
    <p:sldLayoutId id="2147483667" r:id="rId5"/>
    <p:sldLayoutId id="2147483727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742" r:id="rId18"/>
    <p:sldLayoutId id="2147483728" r:id="rId19"/>
    <p:sldLayoutId id="2147483744" r:id="rId20"/>
    <p:sldLayoutId id="2147483749" r:id="rId21"/>
    <p:sldLayoutId id="2147483750" r:id="rId22"/>
    <p:sldLayoutId id="2147483751" r:id="rId23"/>
    <p:sldLayoutId id="2147483753" r:id="rId24"/>
    <p:sldLayoutId id="2147483754" r:id="rId25"/>
    <p:sldLayoutId id="2147483756" r:id="rId26"/>
    <p:sldLayoutId id="2147483757" r:id="rId27"/>
    <p:sldLayoutId id="2147483758" r:id="rId28"/>
  </p:sldLayoutIdLst>
  <p:transition>
    <p:fade/>
  </p:transition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2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20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8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 baseline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724">
          <p15:clr>
            <a:srgbClr val="F26B43"/>
          </p15:clr>
        </p15:guide>
        <p15:guide id="4" pos="3328">
          <p15:clr>
            <a:srgbClr val="F26B43"/>
          </p15:clr>
        </p15:guide>
        <p15:guide id="5" pos="3104">
          <p15:clr>
            <a:srgbClr val="F26B43"/>
          </p15:clr>
        </p15:guide>
        <p15:guide id="6" pos="2708">
          <p15:clr>
            <a:srgbClr val="F26B43"/>
          </p15:clr>
        </p15:guide>
        <p15:guide id="7" pos="2484">
          <p15:clr>
            <a:srgbClr val="F26B43"/>
          </p15:clr>
        </p15:guide>
        <p15:guide id="8" pos="2088">
          <p15:clr>
            <a:srgbClr val="F26B43"/>
          </p15:clr>
        </p15:guide>
        <p15:guide id="9" pos="1864">
          <p15:clr>
            <a:srgbClr val="F26B43"/>
          </p15:clr>
        </p15:guide>
        <p15:guide id="10" pos="1464">
          <p15:clr>
            <a:srgbClr val="F26B43"/>
          </p15:clr>
        </p15:guide>
        <p15:guide id="11" pos="1240">
          <p15:clr>
            <a:srgbClr val="F26B43"/>
          </p15:clr>
        </p15:guide>
        <p15:guide id="12" pos="844">
          <p15:clr>
            <a:srgbClr val="F26B43"/>
          </p15:clr>
        </p15:guide>
        <p15:guide id="13" pos="620">
          <p15:clr>
            <a:srgbClr val="F26B43"/>
          </p15:clr>
        </p15:guide>
        <p15:guide id="14" pos="448">
          <p15:clr>
            <a:srgbClr val="F26B43"/>
          </p15:clr>
        </p15:guide>
        <p15:guide id="15" pos="220">
          <p15:clr>
            <a:srgbClr val="F26B43"/>
          </p15:clr>
        </p15:guide>
        <p15:guide id="16" pos="3951">
          <p15:clr>
            <a:srgbClr val="F26B43"/>
          </p15:clr>
        </p15:guide>
        <p15:guide id="17" pos="4344">
          <p15:clr>
            <a:srgbClr val="F26B43"/>
          </p15:clr>
        </p15:guide>
        <p15:guide id="18" pos="4571">
          <p15:clr>
            <a:srgbClr val="F26B43"/>
          </p15:clr>
        </p15:guide>
        <p15:guide id="19" pos="4968">
          <p15:clr>
            <a:srgbClr val="F26B43"/>
          </p15:clr>
        </p15:guide>
        <p15:guide id="20" pos="5188">
          <p15:clr>
            <a:srgbClr val="F26B43"/>
          </p15:clr>
        </p15:guide>
        <p15:guide id="21" pos="5592">
          <p15:clr>
            <a:srgbClr val="F26B43"/>
          </p15:clr>
        </p15:guide>
        <p15:guide id="22" pos="5811">
          <p15:clr>
            <a:srgbClr val="F26B43"/>
          </p15:clr>
        </p15:guide>
        <p15:guide id="23" pos="6208">
          <p15:clr>
            <a:srgbClr val="F26B43"/>
          </p15:clr>
        </p15:guide>
        <p15:guide id="24" pos="6435">
          <p15:clr>
            <a:srgbClr val="F26B43"/>
          </p15:clr>
        </p15:guide>
        <p15:guide id="25" pos="6831">
          <p15:clr>
            <a:srgbClr val="F26B43"/>
          </p15:clr>
        </p15:guide>
        <p15:guide id="26" pos="7055">
          <p15:clr>
            <a:srgbClr val="F26B43"/>
          </p15:clr>
        </p15:guide>
        <p15:guide id="27" pos="7228">
          <p15:clr>
            <a:srgbClr val="F26B43"/>
          </p15:clr>
        </p15:guide>
        <p15:guide id="28" pos="7455">
          <p15:clr>
            <a:srgbClr val="F26B43"/>
          </p15:clr>
        </p15:guide>
        <p15:guide id="29" orient="horz" pos="2047">
          <p15:clr>
            <a:srgbClr val="F26B43"/>
          </p15:clr>
        </p15:guide>
        <p15:guide id="30" orient="horz" pos="1584">
          <p15:clr>
            <a:srgbClr val="F26B43"/>
          </p15:clr>
        </p15:guide>
        <p15:guide id="31" orient="horz" pos="1365">
          <p15:clr>
            <a:srgbClr val="F26B43"/>
          </p15:clr>
        </p15:guide>
        <p15:guide id="32" orient="horz" pos="1130">
          <p15:clr>
            <a:srgbClr val="F26B43"/>
          </p15:clr>
        </p15:guide>
        <p15:guide id="33" orient="horz" pos="903">
          <p15:clr>
            <a:srgbClr val="F26B43"/>
          </p15:clr>
        </p15:guide>
        <p15:guide id="34" orient="horz" pos="682">
          <p15:clr>
            <a:srgbClr val="F26B43"/>
          </p15:clr>
        </p15:guide>
        <p15:guide id="35" orient="horz" pos="558">
          <p15:clr>
            <a:srgbClr val="F26B43"/>
          </p15:clr>
        </p15:guide>
        <p15:guide id="36" orient="horz" pos="448">
          <p15:clr>
            <a:srgbClr val="F26B43"/>
          </p15:clr>
        </p15:guide>
        <p15:guide id="37" orient="horz" pos="216">
          <p15:clr>
            <a:srgbClr val="F26B43"/>
          </p15:clr>
        </p15:guide>
        <p15:guide id="38" orient="horz" pos="2267">
          <p15:clr>
            <a:srgbClr val="F26B43"/>
          </p15:clr>
        </p15:guide>
        <p15:guide id="39" orient="horz" pos="2730">
          <p15:clr>
            <a:srgbClr val="F26B43"/>
          </p15:clr>
        </p15:guide>
        <p15:guide id="40" orient="horz" pos="2950">
          <p15:clr>
            <a:srgbClr val="F26B43"/>
          </p15:clr>
        </p15:guide>
        <p15:guide id="41" orient="horz" pos="3412">
          <p15:clr>
            <a:srgbClr val="F26B43"/>
          </p15:clr>
        </p15:guide>
        <p15:guide id="42" orient="horz" pos="3636">
          <p15:clr>
            <a:srgbClr val="F26B43"/>
          </p15:clr>
        </p15:guide>
        <p15:guide id="43" orient="horz" pos="3871">
          <p15:clr>
            <a:srgbClr val="F26B43"/>
          </p15:clr>
        </p15:guide>
        <p15:guide id="44" orient="horz" pos="409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8491B9-89EF-40F4-AF0F-EDA6BB354E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pril 28</a:t>
            </a:r>
            <a:r>
              <a:rPr lang="en-US" baseline="30000" dirty="0"/>
              <a:t>th</a:t>
            </a:r>
            <a:r>
              <a:rPr lang="en-US" dirty="0"/>
              <a:t>, 2021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22DE6AE-4D72-4533-8A2A-B626E25162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7350" y="4692650"/>
            <a:ext cx="7542465" cy="313459"/>
          </a:xfrm>
        </p:spPr>
        <p:txBody>
          <a:bodyPr/>
          <a:lstStyle/>
          <a:p>
            <a:r>
              <a:rPr lang="en-US" dirty="0"/>
              <a:t>Connor Dunn, Devinaa Mangal, Alex Wis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57351" y="1253684"/>
            <a:ext cx="7542465" cy="1810062"/>
          </a:xfrm>
        </p:spPr>
        <p:txBody>
          <a:bodyPr/>
          <a:lstStyle/>
          <a:p>
            <a:r>
              <a:rPr lang="en-US" dirty="0"/>
              <a:t>Turning Data Into Information:</a:t>
            </a:r>
            <a:br>
              <a:rPr lang="en-US" dirty="0"/>
            </a:br>
            <a:r>
              <a:rPr lang="en-US" dirty="0"/>
              <a:t>Examining Reimbursements</a:t>
            </a:r>
          </a:p>
        </p:txBody>
      </p:sp>
    </p:spTree>
    <p:extLst>
      <p:ext uri="{BB962C8B-B14F-4D97-AF65-F5344CB8AC3E}">
        <p14:creationId xmlns:p14="http://schemas.microsoft.com/office/powerpoint/2010/main" val="119616807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AEE-F543-554C-B3C5-1F00B1669A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4C98F3C-D1E4-144A-9D35-C02A19043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We Chose This Topic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27CA79E5-6189-4BA9-B3BF-16EDDE13DE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7321891"/>
              </p:ext>
            </p:extLst>
          </p:nvPr>
        </p:nvGraphicFramePr>
        <p:xfrm>
          <a:off x="248188" y="2381305"/>
          <a:ext cx="5522988" cy="2316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3139">
                  <a:extLst>
                    <a:ext uri="{9D8B030D-6E8A-4147-A177-3AD203B41FA5}">
                      <a16:colId xmlns:a16="http://schemas.microsoft.com/office/drawing/2014/main" val="362242409"/>
                    </a:ext>
                  </a:extLst>
                </a:gridCol>
                <a:gridCol w="4929849">
                  <a:extLst>
                    <a:ext uri="{9D8B030D-6E8A-4147-A177-3AD203B41FA5}">
                      <a16:colId xmlns:a16="http://schemas.microsoft.com/office/drawing/2014/main" val="2084393889"/>
                    </a:ext>
                  </a:extLst>
                </a:gridCol>
              </a:tblGrid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very day, manufacturers deny ~1% of reimbursement claims</a:t>
                      </a:r>
                      <a:endParaRPr lang="en-US" sz="1600" baseline="30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3248651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Denial data is available in the form of a flat table extracted from SAP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317972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defTabSz="685773"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his data would be more useable with the help of visualizations</a:t>
                      </a:r>
                    </a:p>
                  </a:txBody>
                  <a:tcPr marL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183528"/>
                  </a:ext>
                </a:extLst>
              </a:tr>
              <a:tr h="560070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We can even try to see what predictions can be made from the data with classifier models</a:t>
                      </a:r>
                    </a:p>
                  </a:txBody>
                  <a:tcPr marL="18288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0454551"/>
                  </a:ext>
                </a:extLst>
              </a:tr>
            </a:tbl>
          </a:graphicData>
        </a:graphic>
      </p:graphicFrame>
      <p:sp>
        <p:nvSpPr>
          <p:cNvPr id="12" name="Rectangle 5">
            <a:extLst>
              <a:ext uri="{FF2B5EF4-FFF2-40B4-BE49-F238E27FC236}">
                <a16:creationId xmlns:a16="http://schemas.microsoft.com/office/drawing/2014/main" id="{A1A4C787-0638-438F-A61F-6F4161A5E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6616" y="1069848"/>
            <a:ext cx="5306132" cy="35934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91440" rIns="0" bIns="91440" anchor="t">
            <a:no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The Opportunity 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18B1A302-375D-417F-B1C9-48A922131F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1797" y="1069848"/>
            <a:ext cx="5355014" cy="35934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91440" rIns="0" bIns="91440" anchor="t">
            <a:no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The Solution</a:t>
            </a:r>
            <a:endParaRPr lang="en-US" dirty="0">
              <a:solidFill>
                <a:schemeClr val="tx2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69AC496-79F9-44D6-9447-3448AA5D6867}"/>
              </a:ext>
            </a:extLst>
          </p:cNvPr>
          <p:cNvCxnSpPr>
            <a:cxnSpLocks/>
          </p:cNvCxnSpPr>
          <p:nvPr/>
        </p:nvCxnSpPr>
        <p:spPr>
          <a:xfrm flipV="1">
            <a:off x="356616" y="1535427"/>
            <a:ext cx="5522989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2C10E91-7910-4BEF-B39F-056E42C68CD7}"/>
              </a:ext>
            </a:extLst>
          </p:cNvPr>
          <p:cNvCxnSpPr>
            <a:cxnSpLocks/>
          </p:cNvCxnSpPr>
          <p:nvPr/>
        </p:nvCxnSpPr>
        <p:spPr>
          <a:xfrm flipV="1">
            <a:off x="6295690" y="1535427"/>
            <a:ext cx="5522989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D494A936-80BE-4DC2-8B5C-B0389ACE6F1F}"/>
              </a:ext>
            </a:extLst>
          </p:cNvPr>
          <p:cNvSpPr/>
          <p:nvPr/>
        </p:nvSpPr>
        <p:spPr>
          <a:xfrm>
            <a:off x="7324268" y="3271798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isualizations using HV Plot, Plotly Express, and other Python packages</a:t>
            </a:r>
          </a:p>
        </p:txBody>
      </p:sp>
      <p:sp>
        <p:nvSpPr>
          <p:cNvPr id="20" name="Isosceles Triangle 52">
            <a:extLst>
              <a:ext uri="{FF2B5EF4-FFF2-40B4-BE49-F238E27FC236}">
                <a16:creationId xmlns:a16="http://schemas.microsoft.com/office/drawing/2014/main" id="{7C16EED8-DEE0-4A70-954F-08CBED810B8A}"/>
              </a:ext>
            </a:extLst>
          </p:cNvPr>
          <p:cNvSpPr/>
          <p:nvPr/>
        </p:nvSpPr>
        <p:spPr>
          <a:xfrm rot="5400000">
            <a:off x="4737348" y="3615827"/>
            <a:ext cx="2774909" cy="335116"/>
          </a:xfrm>
          <a:prstGeom prst="triangle">
            <a:avLst/>
          </a:prstGeom>
          <a:solidFill>
            <a:srgbClr val="CCDE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F186DA3-E131-412E-8F9B-9B134DEB00A9}"/>
              </a:ext>
            </a:extLst>
          </p:cNvPr>
          <p:cNvSpPr/>
          <p:nvPr/>
        </p:nvSpPr>
        <p:spPr>
          <a:xfrm>
            <a:off x="7315205" y="2375647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ull and clean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data set that contains sufficient records for training and testing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A71739B-8F3D-4F76-BD80-4E6B8FBFEE77}"/>
              </a:ext>
            </a:extLst>
          </p:cNvPr>
          <p:cNvSpPr/>
          <p:nvPr/>
        </p:nvSpPr>
        <p:spPr>
          <a:xfrm>
            <a:off x="7315205" y="4175632"/>
            <a:ext cx="4649921" cy="662942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defTabSz="685773">
              <a:defRPr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ild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assifier models that can possibly predict write offs and identify the most important feature indicators  </a:t>
            </a:r>
          </a:p>
        </p:txBody>
      </p:sp>
      <p:pic>
        <p:nvPicPr>
          <p:cNvPr id="38" name="Picture 37" descr="A close up of a logo&#10;&#10;Description automatically generated">
            <a:extLst>
              <a:ext uri="{FF2B5EF4-FFF2-40B4-BE49-F238E27FC236}">
                <a16:creationId xmlns:a16="http://schemas.microsoft.com/office/drawing/2014/main" id="{2E78A9AC-937B-4BC8-AF7B-E57BD54F8C5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6203" y="3292373"/>
            <a:ext cx="640080" cy="640080"/>
          </a:xfrm>
          <a:prstGeom prst="rect">
            <a:avLst/>
          </a:prstGeom>
        </p:spPr>
      </p:pic>
      <p:pic>
        <p:nvPicPr>
          <p:cNvPr id="39" name="Picture 38" descr="A close up of a sign&#10;&#10;Description automatically generated">
            <a:extLst>
              <a:ext uri="{FF2B5EF4-FFF2-40B4-BE49-F238E27FC236}">
                <a16:creationId xmlns:a16="http://schemas.microsoft.com/office/drawing/2014/main" id="{F1ED8F50-9A1B-4789-9101-3CA6296EE11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8197" y="2417830"/>
            <a:ext cx="640080" cy="64008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9043F41-29A6-4F43-8CDD-3E59FD9D475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6203" y="4198494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13993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Walmart's Modern Logo Adds Trust And Friendliness To The Major Retailer  Through Welcoming Shapes &amp; Colors">
            <a:extLst>
              <a:ext uri="{FF2B5EF4-FFF2-40B4-BE49-F238E27FC236}">
                <a16:creationId xmlns:a16="http://schemas.microsoft.com/office/drawing/2014/main" id="{7E683301-BE30-4121-B601-E2CFFABC8A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9687" y="4104319"/>
            <a:ext cx="1758845" cy="1057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AutoShape 2"/>
          <p:cNvSpPr>
            <a:spLocks noChangeArrowheads="1"/>
          </p:cNvSpPr>
          <p:nvPr/>
        </p:nvSpPr>
        <p:spPr bwMode="auto">
          <a:xfrm rot="5400000">
            <a:off x="5462665" y="965571"/>
            <a:ext cx="1371600" cy="9349735"/>
          </a:xfrm>
          <a:prstGeom prst="roundRect">
            <a:avLst>
              <a:gd name="adj" fmla="val 9769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106225" tIns="53109" rIns="106225" bIns="53109" anchor="ctr"/>
          <a:lstStyle/>
          <a:p>
            <a:pPr algn="ctr" defTabSz="1062274">
              <a:defRPr/>
            </a:pPr>
            <a:endParaRPr lang="en-US" sz="2112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AutoShape 3"/>
          <p:cNvSpPr>
            <a:spLocks noChangeArrowheads="1"/>
          </p:cNvSpPr>
          <p:nvPr/>
        </p:nvSpPr>
        <p:spPr bwMode="auto">
          <a:xfrm rot="5400000">
            <a:off x="5213057" y="-3726239"/>
            <a:ext cx="1535592" cy="11007154"/>
          </a:xfrm>
          <a:prstGeom prst="roundRect">
            <a:avLst>
              <a:gd name="adj" fmla="val 9769"/>
            </a:avLst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rot="10800000" vert="eaVert" wrap="none" lIns="106225" tIns="53109" rIns="106225" bIns="53109" anchor="ctr"/>
          <a:lstStyle/>
          <a:p>
            <a:pPr algn="ctr" defTabSz="1062274">
              <a:defRPr/>
            </a:pPr>
            <a:endParaRPr lang="en-US" sz="2112" dirty="0">
              <a:solidFill>
                <a:schemeClr val="accent1"/>
              </a:solidFill>
              <a:latin typeface="Calibri"/>
            </a:endParaRP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369140" y="1009546"/>
            <a:ext cx="5085603" cy="64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837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ustomer</a:t>
            </a:r>
          </a:p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rices, items, customers dates </a:t>
            </a:r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7106417" y="1009546"/>
            <a:ext cx="3165654" cy="64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837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Supplier</a:t>
            </a:r>
            <a:endParaRPr lang="en-US" sz="1837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rices, items, customers, dates</a:t>
            </a:r>
          </a:p>
        </p:txBody>
      </p:sp>
      <p:sp>
        <p:nvSpPr>
          <p:cNvPr id="6" name="Rectangle 12"/>
          <p:cNvSpPr>
            <a:spLocks noChangeArrowheads="1"/>
          </p:cNvSpPr>
          <p:nvPr/>
        </p:nvSpPr>
        <p:spPr bwMode="auto">
          <a:xfrm>
            <a:off x="4038600" y="2957412"/>
            <a:ext cx="3918857" cy="389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837" dirty="0">
                <a:solidFill>
                  <a:srgbClr val="443A35"/>
                </a:solidFill>
                <a:latin typeface="Arial" pitchFamily="34" charset="0"/>
                <a:cs typeface="Arial" pitchFamily="34" charset="0"/>
              </a:rPr>
              <a:t>McKesson Contracts Team</a:t>
            </a:r>
          </a:p>
        </p:txBody>
      </p:sp>
      <p:sp>
        <p:nvSpPr>
          <p:cNvPr id="9" name="Rectangle 20"/>
          <p:cNvSpPr>
            <a:spLocks noChangeArrowheads="1"/>
          </p:cNvSpPr>
          <p:nvPr/>
        </p:nvSpPr>
        <p:spPr bwMode="auto">
          <a:xfrm>
            <a:off x="1199748" y="4995582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14" name="Line 25"/>
          <p:cNvSpPr>
            <a:spLocks noChangeShapeType="1"/>
          </p:cNvSpPr>
          <p:nvPr/>
        </p:nvSpPr>
        <p:spPr bwMode="auto">
          <a:xfrm>
            <a:off x="3373234" y="49546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Line 26"/>
          <p:cNvSpPr>
            <a:spLocks noChangeShapeType="1"/>
          </p:cNvSpPr>
          <p:nvPr/>
        </p:nvSpPr>
        <p:spPr bwMode="auto">
          <a:xfrm>
            <a:off x="6957420" y="4966514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Line 27"/>
          <p:cNvSpPr>
            <a:spLocks noChangeShapeType="1"/>
          </p:cNvSpPr>
          <p:nvPr/>
        </p:nvSpPr>
        <p:spPr bwMode="auto">
          <a:xfrm>
            <a:off x="8862142" y="49546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7" name="Picture 28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0133841" y="1694073"/>
            <a:ext cx="370874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29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266974" y="1748046"/>
            <a:ext cx="582804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 Box 31"/>
          <p:cNvSpPr txBox="1">
            <a:spLocks noChangeArrowheads="1"/>
          </p:cNvSpPr>
          <p:nvPr/>
        </p:nvSpPr>
        <p:spPr bwMode="auto">
          <a:xfrm>
            <a:off x="9374523" y="2157484"/>
            <a:ext cx="1958503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ard Copies</a:t>
            </a:r>
          </a:p>
        </p:txBody>
      </p:sp>
      <p:pic>
        <p:nvPicPr>
          <p:cNvPr id="20" name="Picture 3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883312" y="1678991"/>
            <a:ext cx="398122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 Box 33"/>
          <p:cNvSpPr txBox="1">
            <a:spLocks noChangeArrowheads="1"/>
          </p:cNvSpPr>
          <p:nvPr/>
        </p:nvSpPr>
        <p:spPr bwMode="auto">
          <a:xfrm>
            <a:off x="6831706" y="2157484"/>
            <a:ext cx="56718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DI</a:t>
            </a:r>
          </a:p>
        </p:txBody>
      </p:sp>
      <p:pic>
        <p:nvPicPr>
          <p:cNvPr id="22" name="Picture 34" descr="Untitled-3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b="49394"/>
          <a:stretch>
            <a:fillRect/>
          </a:stretch>
        </p:blipFill>
        <p:spPr bwMode="auto">
          <a:xfrm>
            <a:off x="5585732" y="3374312"/>
            <a:ext cx="881743" cy="74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Text Box 35"/>
          <p:cNvSpPr txBox="1">
            <a:spLocks noChangeArrowheads="1"/>
          </p:cNvSpPr>
          <p:nvPr/>
        </p:nvSpPr>
        <p:spPr bwMode="auto">
          <a:xfrm>
            <a:off x="8112978" y="2157484"/>
            <a:ext cx="919847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-mails</a:t>
            </a:r>
          </a:p>
        </p:txBody>
      </p:sp>
      <p:sp>
        <p:nvSpPr>
          <p:cNvPr id="42" name="Line 65"/>
          <p:cNvSpPr>
            <a:spLocks noChangeShapeType="1"/>
          </p:cNvSpPr>
          <p:nvPr/>
        </p:nvSpPr>
        <p:spPr bwMode="auto">
          <a:xfrm>
            <a:off x="5998029" y="1005581"/>
            <a:ext cx="0" cy="144780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schemeClr val="accent1"/>
              </a:solidFill>
              <a:latin typeface="Calibri"/>
            </a:endParaRPr>
          </a:p>
        </p:txBody>
      </p:sp>
      <p:sp>
        <p:nvSpPr>
          <p:cNvPr id="43" name="AutoShape 76"/>
          <p:cNvSpPr>
            <a:spLocks noChangeArrowheads="1"/>
          </p:cNvSpPr>
          <p:nvPr/>
        </p:nvSpPr>
        <p:spPr bwMode="auto">
          <a:xfrm rot="5400000">
            <a:off x="5623154" y="2329661"/>
            <a:ext cx="762000" cy="506186"/>
          </a:xfrm>
          <a:prstGeom prst="rightArrow">
            <a:avLst>
              <a:gd name="adj1" fmla="val 50000"/>
              <a:gd name="adj2" fmla="val 49937"/>
            </a:avLst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106225" tIns="53109" rIns="106225" bIns="53109" anchor="ctr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46" name="Picture 28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626429" y="1694073"/>
            <a:ext cx="370874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29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714013" y="1748046"/>
            <a:ext cx="582804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" name="Text Box 31"/>
          <p:cNvSpPr txBox="1">
            <a:spLocks noChangeArrowheads="1"/>
          </p:cNvSpPr>
          <p:nvPr/>
        </p:nvSpPr>
        <p:spPr bwMode="auto">
          <a:xfrm>
            <a:off x="3829494" y="2157484"/>
            <a:ext cx="196112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ard Copies</a:t>
            </a:r>
          </a:p>
        </p:txBody>
      </p:sp>
      <p:pic>
        <p:nvPicPr>
          <p:cNvPr id="49" name="Picture 3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359144" y="1678991"/>
            <a:ext cx="398122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" name="Text Box 33"/>
          <p:cNvSpPr txBox="1">
            <a:spLocks noChangeArrowheads="1"/>
          </p:cNvSpPr>
          <p:nvPr/>
        </p:nvSpPr>
        <p:spPr bwMode="auto">
          <a:xfrm>
            <a:off x="1271410" y="2157484"/>
            <a:ext cx="567186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DI</a:t>
            </a:r>
          </a:p>
        </p:txBody>
      </p:sp>
      <p:sp>
        <p:nvSpPr>
          <p:cNvPr id="51" name="Text Box 35"/>
          <p:cNvSpPr txBox="1">
            <a:spLocks noChangeArrowheads="1"/>
          </p:cNvSpPr>
          <p:nvPr/>
        </p:nvSpPr>
        <p:spPr bwMode="auto">
          <a:xfrm>
            <a:off x="2583217" y="2157484"/>
            <a:ext cx="919847" cy="36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6225" tIns="53109" rIns="106225" bIns="53109">
            <a:spAutoFit/>
          </a:bodyPr>
          <a:lstStyle/>
          <a:p>
            <a:pPr algn="ctr" defTabSz="1062274"/>
            <a:r>
              <a:rPr lang="en-US" sz="1653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-mails</a:t>
            </a:r>
          </a:p>
        </p:txBody>
      </p:sp>
      <p:sp>
        <p:nvSpPr>
          <p:cNvPr id="52" name="Left-Right Arrow 80"/>
          <p:cNvSpPr>
            <a:spLocks noChangeArrowheads="1"/>
          </p:cNvSpPr>
          <p:nvPr/>
        </p:nvSpPr>
        <p:spPr bwMode="auto">
          <a:xfrm>
            <a:off x="5116298" y="1151211"/>
            <a:ext cx="1743075" cy="484188"/>
          </a:xfrm>
          <a:prstGeom prst="leftRightArrow">
            <a:avLst>
              <a:gd name="adj1" fmla="val 50000"/>
              <a:gd name="adj2" fmla="val 50024"/>
            </a:avLst>
          </a:prstGeom>
          <a:solidFill>
            <a:schemeClr val="tx2"/>
          </a:solidFill>
          <a:ln w="9525" algn="ctr">
            <a:noFill/>
            <a:round/>
            <a:headEnd/>
            <a:tailEnd/>
          </a:ln>
        </p:spPr>
        <p:txBody>
          <a:bodyPr lIns="106225" tIns="53109" rIns="106225" bIns="53109" anchor="ctr" anchorCtr="1"/>
          <a:lstStyle/>
          <a:p>
            <a:pPr defTabSz="1062274"/>
            <a:r>
              <a:rPr lang="en-US" sz="1378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negotiations</a:t>
            </a:r>
          </a:p>
        </p:txBody>
      </p:sp>
      <p:sp>
        <p:nvSpPr>
          <p:cNvPr id="53" name="Line 25"/>
          <p:cNvSpPr>
            <a:spLocks noChangeShapeType="1"/>
          </p:cNvSpPr>
          <p:nvPr/>
        </p:nvSpPr>
        <p:spPr bwMode="auto">
          <a:xfrm>
            <a:off x="5187570" y="4964539"/>
            <a:ext cx="0" cy="1371600"/>
          </a:xfrm>
          <a:prstGeom prst="line">
            <a:avLst/>
          </a:prstGeom>
          <a:noFill/>
          <a:ln w="19050">
            <a:solidFill>
              <a:srgbClr val="C0C0C0"/>
            </a:solidFill>
            <a:prstDash val="dash"/>
            <a:round/>
            <a:headEnd/>
            <a:tailEnd/>
          </a:ln>
        </p:spPr>
        <p:txBody>
          <a:bodyPr lIns="106225" tIns="53109" rIns="106225" bIns="53109"/>
          <a:lstStyle/>
          <a:p>
            <a:pPr defTabSz="1062274"/>
            <a:endParaRPr lang="en-US" sz="2112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8" name="Rectangle 20"/>
          <p:cNvSpPr>
            <a:spLocks noChangeArrowheads="1"/>
          </p:cNvSpPr>
          <p:nvPr/>
        </p:nvSpPr>
        <p:spPr bwMode="auto">
          <a:xfrm>
            <a:off x="1549939" y="5287373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ite Aid Cost: $9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0</a:t>
            </a:r>
          </a:p>
        </p:txBody>
      </p:sp>
      <p:sp>
        <p:nvSpPr>
          <p:cNvPr id="24" name="Title 23">
            <a:extLst>
              <a:ext uri="{FF2B5EF4-FFF2-40B4-BE49-F238E27FC236}">
                <a16:creationId xmlns:a16="http://schemas.microsoft.com/office/drawing/2014/main" id="{9F98EC11-B5C0-4DEA-AB20-D5F7CFEFC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Reimbursements Exist</a:t>
            </a: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1D00CDBB-B710-45B4-862F-8CD1279F75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7" name="Rectangle 20">
            <a:extLst>
              <a:ext uri="{FF2B5EF4-FFF2-40B4-BE49-F238E27FC236}">
                <a16:creationId xmlns:a16="http://schemas.microsoft.com/office/drawing/2014/main" id="{87D92332-84F5-4883-90E0-D5B9247C38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1510" y="4989730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84" name="Rectangle 20">
            <a:extLst>
              <a:ext uri="{FF2B5EF4-FFF2-40B4-BE49-F238E27FC236}">
                <a16:creationId xmlns:a16="http://schemas.microsoft.com/office/drawing/2014/main" id="{CB504738-41BA-4B2A-BEF4-82404FAC70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1701" y="5281521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almart Cost: $85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5</a:t>
            </a:r>
          </a:p>
        </p:txBody>
      </p:sp>
      <p:sp>
        <p:nvSpPr>
          <p:cNvPr id="86" name="Rectangle 20">
            <a:extLst>
              <a:ext uri="{FF2B5EF4-FFF2-40B4-BE49-F238E27FC236}">
                <a16:creationId xmlns:a16="http://schemas.microsoft.com/office/drawing/2014/main" id="{21FCE4CB-1B27-4A6D-8090-8F0A190B0A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8412" y="4989730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87" name="Rectangle 20">
            <a:extLst>
              <a:ext uri="{FF2B5EF4-FFF2-40B4-BE49-F238E27FC236}">
                <a16:creationId xmlns:a16="http://schemas.microsoft.com/office/drawing/2014/main" id="{F47D42A4-9EB0-4B98-84A6-6412E6DD1B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8603" y="5281521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HEB Cost: $91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9</a:t>
            </a:r>
          </a:p>
        </p:txBody>
      </p:sp>
      <p:sp>
        <p:nvSpPr>
          <p:cNvPr id="89" name="Rectangle 20">
            <a:extLst>
              <a:ext uri="{FF2B5EF4-FFF2-40B4-BE49-F238E27FC236}">
                <a16:creationId xmlns:a16="http://schemas.microsoft.com/office/drawing/2014/main" id="{14BBA793-9644-4243-8B1E-64C8823164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4066" y="4982129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90" name="Rectangle 20">
            <a:extLst>
              <a:ext uri="{FF2B5EF4-FFF2-40B4-BE49-F238E27FC236}">
                <a16:creationId xmlns:a16="http://schemas.microsoft.com/office/drawing/2014/main" id="{98B33B18-110D-4E30-A0CC-19A9B8B8C3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14257" y="5273920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stco Cost: $88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12</a:t>
            </a:r>
          </a:p>
        </p:txBody>
      </p:sp>
      <p:sp>
        <p:nvSpPr>
          <p:cNvPr id="92" name="Rectangle 20">
            <a:extLst>
              <a:ext uri="{FF2B5EF4-FFF2-40B4-BE49-F238E27FC236}">
                <a16:creationId xmlns:a16="http://schemas.microsoft.com/office/drawing/2014/main" id="{C2798597-3625-421C-9F48-4EBD9742EF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99877" y="4999719"/>
            <a:ext cx="2351314" cy="31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6225" tIns="53109" rIns="106225" bIns="53109">
            <a:spAutoFit/>
          </a:bodyPr>
          <a:lstStyle/>
          <a:p>
            <a:pPr algn="ctr" defTabSz="1062274"/>
            <a:r>
              <a:rPr lang="en-US" sz="1378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rug A:</a:t>
            </a:r>
          </a:p>
        </p:txBody>
      </p:sp>
      <p:sp>
        <p:nvSpPr>
          <p:cNvPr id="93" name="Rectangle 20">
            <a:extLst>
              <a:ext uri="{FF2B5EF4-FFF2-40B4-BE49-F238E27FC236}">
                <a16:creationId xmlns:a16="http://schemas.microsoft.com/office/drawing/2014/main" id="{2F17D27A-E408-4AEA-82A0-70E983DD26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50068" y="5291510"/>
            <a:ext cx="1837645" cy="1030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6225" tIns="53109" rIns="106225" bIns="53109">
            <a:spAutoFit/>
          </a:bodyPr>
          <a:lstStyle/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Wholesale Cost: $10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VA Cost: $70</a:t>
            </a:r>
          </a:p>
          <a:p>
            <a:pPr defTabSz="1062274"/>
            <a:endParaRPr lang="en-US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defTabSz="1062274"/>
            <a:r>
              <a:rPr lang="en-US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: $30</a:t>
            </a:r>
          </a:p>
        </p:txBody>
      </p:sp>
      <p:pic>
        <p:nvPicPr>
          <p:cNvPr id="1026" name="Picture 2" descr="Rite Aid - Wikipedia">
            <a:extLst>
              <a:ext uri="{FF2B5EF4-FFF2-40B4-BE49-F238E27FC236}">
                <a16:creationId xmlns:a16="http://schemas.microsoft.com/office/drawing/2014/main" id="{E7669883-D4C9-49EA-9E34-91A702E411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4609" y="4409585"/>
            <a:ext cx="1133557" cy="545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-E-B - Wikipedia">
            <a:extLst>
              <a:ext uri="{FF2B5EF4-FFF2-40B4-BE49-F238E27FC236}">
                <a16:creationId xmlns:a16="http://schemas.microsoft.com/office/drawing/2014/main" id="{1EF779A5-680C-44A8-98FE-C5588C983C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9989" y="4407119"/>
            <a:ext cx="1449744" cy="483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Welcome to Costco Wholesale">
            <a:extLst>
              <a:ext uri="{FF2B5EF4-FFF2-40B4-BE49-F238E27FC236}">
                <a16:creationId xmlns:a16="http://schemas.microsoft.com/office/drawing/2014/main" id="{4B560496-B3BD-401A-BDD3-55E64F28A8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0592" y="4429425"/>
            <a:ext cx="1633587" cy="475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Veterans Benefits Administration Home">
            <a:extLst>
              <a:ext uri="{FF2B5EF4-FFF2-40B4-BE49-F238E27FC236}">
                <a16:creationId xmlns:a16="http://schemas.microsoft.com/office/drawing/2014/main" id="{BA8F9F39-47AB-4142-95F3-1D21ABC189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5380" y="4363603"/>
            <a:ext cx="1623856" cy="558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410217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Line 8"/>
          <p:cNvSpPr>
            <a:spLocks noChangeShapeType="1"/>
          </p:cNvSpPr>
          <p:nvPr/>
        </p:nvSpPr>
        <p:spPr bwMode="auto">
          <a:xfrm>
            <a:off x="789215" y="5326720"/>
            <a:ext cx="8427584" cy="0"/>
          </a:xfrm>
          <a:prstGeom prst="line">
            <a:avLst/>
          </a:prstGeom>
          <a:noFill/>
          <a:ln w="19050">
            <a:solidFill>
              <a:srgbClr val="9F9F9F"/>
            </a:solidFill>
            <a:prstDash val="dash"/>
            <a:round/>
            <a:headEnd/>
            <a:tailEnd/>
          </a:ln>
        </p:spPr>
        <p:txBody>
          <a:bodyPr lIns="106332" tIns="53165" rIns="106332" bIns="53165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6" name="Line 9"/>
          <p:cNvSpPr>
            <a:spLocks noChangeShapeType="1"/>
          </p:cNvSpPr>
          <p:nvPr/>
        </p:nvSpPr>
        <p:spPr bwMode="auto">
          <a:xfrm>
            <a:off x="1337387" y="2746018"/>
            <a:ext cx="7809723" cy="0"/>
          </a:xfrm>
          <a:prstGeom prst="line">
            <a:avLst/>
          </a:prstGeom>
          <a:noFill/>
          <a:ln w="19050">
            <a:solidFill>
              <a:schemeClr val="tx2"/>
            </a:solidFill>
            <a:prstDash val="dash"/>
            <a:round/>
            <a:headEnd/>
            <a:tailEnd/>
          </a:ln>
        </p:spPr>
        <p:txBody>
          <a:bodyPr lIns="106332" tIns="53165" rIns="106332" bIns="53165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7" name="Rectangle 14"/>
          <p:cNvSpPr>
            <a:spLocks noChangeArrowheads="1"/>
          </p:cNvSpPr>
          <p:nvPr/>
        </p:nvSpPr>
        <p:spPr bwMode="auto">
          <a:xfrm>
            <a:off x="772886" y="4793320"/>
            <a:ext cx="1306286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8" name="Rectangle 15"/>
          <p:cNvSpPr>
            <a:spLocks noChangeArrowheads="1"/>
          </p:cNvSpPr>
          <p:nvPr/>
        </p:nvSpPr>
        <p:spPr bwMode="auto">
          <a:xfrm>
            <a:off x="3025168" y="4853521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9" name="Rectangle 16"/>
          <p:cNvSpPr>
            <a:spLocks noChangeArrowheads="1"/>
          </p:cNvSpPr>
          <p:nvPr/>
        </p:nvSpPr>
        <p:spPr bwMode="auto">
          <a:xfrm>
            <a:off x="5606143" y="4767920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0" name="Rectangle 17"/>
          <p:cNvSpPr>
            <a:spLocks noChangeArrowheads="1"/>
          </p:cNvSpPr>
          <p:nvPr/>
        </p:nvSpPr>
        <p:spPr bwMode="auto">
          <a:xfrm>
            <a:off x="7961697" y="4839172"/>
            <a:ext cx="1502229" cy="1003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106332" tIns="53165" rIns="106332" bIns="53165" anchor="ctr"/>
          <a:lstStyle/>
          <a:p>
            <a:pPr defTabSz="1063362"/>
            <a:endParaRPr lang="en-US" sz="2112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41" name="Picture 18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348258" y="4974298"/>
            <a:ext cx="879693" cy="1129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Picture 19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387366" y="4929845"/>
            <a:ext cx="664907" cy="1304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20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060465" y="2441554"/>
            <a:ext cx="535023" cy="1262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21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308785" y="2417741"/>
            <a:ext cx="930700" cy="1195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Picture 2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073803" y="4977473"/>
            <a:ext cx="653727" cy="1228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" name="Picture 23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452577" y="2479651"/>
            <a:ext cx="779107" cy="1067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24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324567" y="4998169"/>
            <a:ext cx="1377205" cy="874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25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47531" y="2502416"/>
            <a:ext cx="797562" cy="995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Rectangle 26"/>
          <p:cNvSpPr>
            <a:spLocks noChangeArrowheads="1"/>
          </p:cNvSpPr>
          <p:nvPr/>
        </p:nvSpPr>
        <p:spPr bwMode="auto">
          <a:xfrm>
            <a:off x="195532" y="3165576"/>
            <a:ext cx="2390333" cy="832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Customer 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Contract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Purchase</a:t>
            </a:r>
          </a:p>
        </p:txBody>
      </p:sp>
      <p:sp>
        <p:nvSpPr>
          <p:cNvPr id="50" name="Rectangle 27"/>
          <p:cNvSpPr>
            <a:spLocks noChangeArrowheads="1"/>
          </p:cNvSpPr>
          <p:nvPr/>
        </p:nvSpPr>
        <p:spPr bwMode="auto">
          <a:xfrm>
            <a:off x="185061" y="5645675"/>
            <a:ext cx="2469696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Vendor</a:t>
            </a:r>
            <a:br>
              <a:rPr lang="en-US" sz="1378" b="1" dirty="0">
                <a:solidFill>
                  <a:srgbClr val="005A8C"/>
                </a:solidFill>
                <a:latin typeface="Georgia"/>
              </a:rPr>
            </a:br>
            <a:r>
              <a:rPr lang="en-US" sz="1378" b="1" dirty="0">
                <a:solidFill>
                  <a:srgbClr val="005A8C"/>
                </a:solidFill>
                <a:latin typeface="Georgia"/>
              </a:rPr>
              <a:t>Denies Initial</a:t>
            </a:r>
            <a:br>
              <a:rPr lang="en-US" sz="1378" b="1" dirty="0">
                <a:solidFill>
                  <a:srgbClr val="005A8C"/>
                </a:solidFill>
                <a:latin typeface="Georgia"/>
              </a:rPr>
            </a:b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</a:t>
            </a:r>
          </a:p>
        </p:txBody>
      </p:sp>
      <p:sp>
        <p:nvSpPr>
          <p:cNvPr id="51" name="Rectangle 28"/>
          <p:cNvSpPr>
            <a:spLocks noChangeArrowheads="1"/>
          </p:cNvSpPr>
          <p:nvPr/>
        </p:nvSpPr>
        <p:spPr bwMode="auto">
          <a:xfrm>
            <a:off x="5035010" y="5674803"/>
            <a:ext cx="2658109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Partner with Suppliers to Resolve Discrepancies</a:t>
            </a:r>
          </a:p>
        </p:txBody>
      </p:sp>
      <p:sp>
        <p:nvSpPr>
          <p:cNvPr id="52" name="Rectangle 29"/>
          <p:cNvSpPr>
            <a:spLocks noChangeArrowheads="1"/>
          </p:cNvSpPr>
          <p:nvPr/>
        </p:nvSpPr>
        <p:spPr bwMode="auto">
          <a:xfrm>
            <a:off x="2595660" y="3156941"/>
            <a:ext cx="2369048" cy="99554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 Created (WAC less Contract Cost)</a:t>
            </a:r>
          </a:p>
        </p:txBody>
      </p:sp>
      <p:sp>
        <p:nvSpPr>
          <p:cNvPr id="53" name="Rectangle 30"/>
          <p:cNvSpPr>
            <a:spLocks noChangeArrowheads="1"/>
          </p:cNvSpPr>
          <p:nvPr/>
        </p:nvSpPr>
        <p:spPr bwMode="auto">
          <a:xfrm>
            <a:off x="5263612" y="3180688"/>
            <a:ext cx="2224768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imbursement Transmitted to Supplier</a:t>
            </a:r>
          </a:p>
        </p:txBody>
      </p:sp>
      <p:sp>
        <p:nvSpPr>
          <p:cNvPr id="54" name="Rectangle 31"/>
          <p:cNvSpPr>
            <a:spLocks noChangeArrowheads="1"/>
          </p:cNvSpPr>
          <p:nvPr/>
        </p:nvSpPr>
        <p:spPr bwMode="auto">
          <a:xfrm>
            <a:off x="2415951" y="5670250"/>
            <a:ext cx="2443321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Research Reimbursement Denial</a:t>
            </a:r>
          </a:p>
        </p:txBody>
      </p:sp>
      <p:sp>
        <p:nvSpPr>
          <p:cNvPr id="55" name="Rectangle 32"/>
          <p:cNvSpPr>
            <a:spLocks noChangeArrowheads="1"/>
          </p:cNvSpPr>
          <p:nvPr/>
        </p:nvSpPr>
        <p:spPr bwMode="auto">
          <a:xfrm>
            <a:off x="7680932" y="5671837"/>
            <a:ext cx="2362764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Write off or Resubmit for Payment</a:t>
            </a:r>
          </a:p>
        </p:txBody>
      </p:sp>
      <p:sp>
        <p:nvSpPr>
          <p:cNvPr id="57" name="Rectangle 34"/>
          <p:cNvSpPr>
            <a:spLocks noChangeArrowheads="1"/>
          </p:cNvSpPr>
          <p:nvPr/>
        </p:nvSpPr>
        <p:spPr bwMode="auto">
          <a:xfrm>
            <a:off x="7589269" y="3180688"/>
            <a:ext cx="2344951" cy="914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6332" tIns="53165" rIns="106332" bIns="53165"/>
          <a:lstStyle/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Supplier </a:t>
            </a:r>
          </a:p>
          <a:p>
            <a:pPr algn="ctr" defTabSz="1063362">
              <a:lnSpc>
                <a:spcPct val="95000"/>
              </a:lnSpc>
            </a:pPr>
            <a:r>
              <a:rPr lang="en-US" sz="1378" b="1" dirty="0">
                <a:solidFill>
                  <a:srgbClr val="005A8C"/>
                </a:solidFill>
                <a:latin typeface="Georgia"/>
              </a:rPr>
              <a:t>Validates and  Pays Reimbursement</a:t>
            </a:r>
          </a:p>
        </p:txBody>
      </p:sp>
      <p:sp>
        <p:nvSpPr>
          <p:cNvPr id="59" name="Bent-Up Arrow 58"/>
          <p:cNvSpPr/>
          <p:nvPr/>
        </p:nvSpPr>
        <p:spPr bwMode="auto">
          <a:xfrm rot="10800000">
            <a:off x="1194908" y="4354367"/>
            <a:ext cx="9634257" cy="498775"/>
          </a:xfrm>
          <a:prstGeom prst="bentUp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6332" tIns="53165" rIns="106332" bIns="53165" numCol="1" rtlCol="0" anchor="t" anchorCtr="0" compatLnSpc="1">
            <a:prstTxWarp prst="textNoShape">
              <a:avLst/>
            </a:prstTxWarp>
          </a:bodyPr>
          <a:lstStyle/>
          <a:p>
            <a:pPr defTabSz="1063362" fontAlgn="base">
              <a:spcBef>
                <a:spcPct val="0"/>
              </a:spcBef>
              <a:spcAft>
                <a:spcPct val="0"/>
              </a:spcAft>
            </a:pPr>
            <a:endParaRPr lang="en-US" sz="2112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10676482" y="3962492"/>
            <a:ext cx="152684" cy="39187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6332" tIns="53165" rIns="106332" bIns="53165" numCol="1" rtlCol="0" anchor="t" anchorCtr="0" compatLnSpc="1">
            <a:prstTxWarp prst="textNoShape">
              <a:avLst/>
            </a:prstTxWarp>
          </a:bodyPr>
          <a:lstStyle/>
          <a:p>
            <a:pPr defTabSz="1063362" fontAlgn="base">
              <a:spcBef>
                <a:spcPct val="0"/>
              </a:spcBef>
              <a:spcAft>
                <a:spcPct val="0"/>
              </a:spcAft>
            </a:pPr>
            <a:endParaRPr lang="en-US" sz="2112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61" name="Oval 60"/>
          <p:cNvSpPr/>
          <p:nvPr/>
        </p:nvSpPr>
        <p:spPr>
          <a:xfrm>
            <a:off x="9733880" y="2431245"/>
            <a:ext cx="2018582" cy="1535501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6332" tIns="53165" rIns="106332" bIns="53165" rtlCol="0" anchor="ctr">
            <a:normAutofit fontScale="92500"/>
          </a:bodyPr>
          <a:lstStyle/>
          <a:p>
            <a:pPr algn="ctr" defTabSz="1063362">
              <a:lnSpc>
                <a:spcPct val="85000"/>
              </a:lnSpc>
              <a:defRPr/>
            </a:pPr>
            <a:r>
              <a:rPr lang="en-US" sz="2400" b="1" dirty="0">
                <a:solidFill>
                  <a:prstClr val="white"/>
                </a:solidFill>
              </a:rPr>
              <a:t>&gt; 99.0%</a:t>
            </a:r>
          </a:p>
          <a:p>
            <a:pPr algn="ctr" defTabSz="1063362">
              <a:lnSpc>
                <a:spcPct val="85000"/>
              </a:lnSpc>
              <a:defRPr/>
            </a:pPr>
            <a:r>
              <a:rPr lang="en-US" b="1" dirty="0">
                <a:solidFill>
                  <a:prstClr val="white"/>
                </a:solidFill>
              </a:rPr>
              <a:t>Initial </a:t>
            </a:r>
          </a:p>
          <a:p>
            <a:pPr algn="ctr" defTabSz="1063362">
              <a:lnSpc>
                <a:spcPct val="85000"/>
              </a:lnSpc>
              <a:defRPr/>
            </a:pPr>
            <a:r>
              <a:rPr lang="en-US" dirty="0">
                <a:solidFill>
                  <a:prstClr val="white"/>
                </a:solidFill>
              </a:rPr>
              <a:t>Chargeback</a:t>
            </a:r>
            <a:endParaRPr lang="en-US" b="1" dirty="0">
              <a:solidFill>
                <a:prstClr val="white"/>
              </a:solidFill>
            </a:endParaRPr>
          </a:p>
          <a:p>
            <a:pPr algn="ctr" defTabSz="1063362">
              <a:lnSpc>
                <a:spcPct val="85000"/>
              </a:lnSpc>
              <a:defRPr/>
            </a:pPr>
            <a:r>
              <a:rPr lang="en-US" dirty="0">
                <a:solidFill>
                  <a:prstClr val="white"/>
                </a:solidFill>
              </a:rPr>
              <a:t>Accuracy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32" name="AutoShape 27"/>
          <p:cNvSpPr>
            <a:spLocks noChangeArrowheads="1"/>
          </p:cNvSpPr>
          <p:nvPr/>
        </p:nvSpPr>
        <p:spPr bwMode="gray">
          <a:xfrm>
            <a:off x="400939" y="1120441"/>
            <a:ext cx="11451204" cy="907140"/>
          </a:xfrm>
          <a:prstGeom prst="roundRect">
            <a:avLst>
              <a:gd name="adj" fmla="val 2644"/>
            </a:avLst>
          </a:prstGeom>
          <a:solidFill>
            <a:srgbClr val="E5EEF3"/>
          </a:solidFill>
          <a:ln w="9525">
            <a:noFill/>
            <a:round/>
            <a:headEnd/>
            <a:tailEnd/>
          </a:ln>
          <a:effectLst/>
        </p:spPr>
        <p:txBody>
          <a:bodyPr lIns="105671" tIns="52823" rIns="105671" bIns="52823" anchor="ctr"/>
          <a:lstStyle/>
          <a:p>
            <a:pPr algn="ctr" defTabSz="1056655" eaLnBrk="0" hangingPunct="0">
              <a:lnSpc>
                <a:spcPct val="95000"/>
              </a:lnSpc>
              <a:defRPr/>
            </a:pPr>
            <a:r>
              <a:rPr lang="en-US" sz="3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imbursement = Acquisition Cost – Contract Co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82AB4B-CDA5-41A1-92E4-ADAB939FA6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imbursement Process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3E9577-58F2-4474-8443-0E525D48E69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93080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E1850C-EB49-4052-90BD-E4126E6AA6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E1850C-EB49-4052-90BD-E4126E6AA6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1494D0-4CB5-489C-92BC-70E499CD190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7" name="Title 5">
            <a:extLst>
              <a:ext uri="{FF2B5EF4-FFF2-40B4-BE49-F238E27FC236}">
                <a16:creationId xmlns:a16="http://schemas.microsoft.com/office/drawing/2014/main" id="{61CDF119-F17F-4536-969D-FB9374777174}"/>
              </a:ext>
            </a:extLst>
          </p:cNvPr>
          <p:cNvSpPr txBox="1">
            <a:spLocks/>
          </p:cNvSpPr>
          <p:nvPr/>
        </p:nvSpPr>
        <p:spPr>
          <a:xfrm>
            <a:off x="307111" y="346074"/>
            <a:ext cx="11543899" cy="805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3000" dirty="0">
              <a:latin typeface="Georgia" panose="02040502050405020303" pitchFamily="18" charset="0"/>
            </a:endParaRPr>
          </a:p>
        </p:txBody>
      </p:sp>
      <p:sp>
        <p:nvSpPr>
          <p:cNvPr id="63" name="Slide Number Placeholder 3">
            <a:extLst>
              <a:ext uri="{FF2B5EF4-FFF2-40B4-BE49-F238E27FC236}">
                <a16:creationId xmlns:a16="http://schemas.microsoft.com/office/drawing/2014/main" id="{3A1A40F5-D44E-4059-BFEA-38E1E86C96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055A4668-9C7D-CD4D-8E46-10752769FF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Dat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7EB37D1-3845-4640-A4A7-38C548DE7914}"/>
              </a:ext>
            </a:extLst>
          </p:cNvPr>
          <p:cNvGrpSpPr/>
          <p:nvPr/>
        </p:nvGrpSpPr>
        <p:grpSpPr>
          <a:xfrm>
            <a:off x="353568" y="4074003"/>
            <a:ext cx="11484864" cy="1944863"/>
            <a:chOff x="958208" y="1776345"/>
            <a:chExt cx="11484864" cy="1944863"/>
          </a:xfrm>
        </p:grpSpPr>
        <p:sp>
          <p:nvSpPr>
            <p:cNvPr id="37" name="Rectangle 110"/>
            <p:cNvSpPr>
              <a:spLocks noChangeArrowheads="1"/>
            </p:cNvSpPr>
            <p:nvPr/>
          </p:nvSpPr>
          <p:spPr bwMode="auto">
            <a:xfrm>
              <a:off x="1484846" y="1868678"/>
              <a:ext cx="1027518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7 Rejection Reasons</a:t>
              </a:r>
            </a:p>
          </p:txBody>
        </p:sp>
        <p:sp>
          <p:nvSpPr>
            <p:cNvPr id="99" name="Rectangle 110">
              <a:extLst>
                <a:ext uri="{FF2B5EF4-FFF2-40B4-BE49-F238E27FC236}">
                  <a16:creationId xmlns:a16="http://schemas.microsoft.com/office/drawing/2014/main" id="{08E0150D-A724-465F-81E1-D49CEE03BB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4930" y="1868678"/>
              <a:ext cx="154312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26 Distribution Centers</a:t>
              </a:r>
            </a:p>
          </p:txBody>
        </p:sp>
        <p:sp>
          <p:nvSpPr>
            <p:cNvPr id="100" name="Rectangle 110">
              <a:extLst>
                <a:ext uri="{FF2B5EF4-FFF2-40B4-BE49-F238E27FC236}">
                  <a16:creationId xmlns:a16="http://schemas.microsoft.com/office/drawing/2014/main" id="{970D0698-F159-470C-BF1E-22787F28A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8055" y="1868678"/>
              <a:ext cx="131754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79 Manufacturers</a:t>
              </a:r>
            </a:p>
          </p:txBody>
        </p:sp>
        <p:sp>
          <p:nvSpPr>
            <p:cNvPr id="123" name="Rectangle 110">
              <a:extLst>
                <a:ext uri="{FF2B5EF4-FFF2-40B4-BE49-F238E27FC236}">
                  <a16:creationId xmlns:a16="http://schemas.microsoft.com/office/drawing/2014/main" id="{847B7F3F-79FE-4A99-AB8B-296A572B41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9924" y="1868678"/>
              <a:ext cx="1172716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86 Customer Groups</a:t>
              </a:r>
            </a:p>
          </p:txBody>
        </p:sp>
        <p:sp>
          <p:nvSpPr>
            <p:cNvPr id="47" name="Arrow: Right 46">
              <a:extLst>
                <a:ext uri="{FF2B5EF4-FFF2-40B4-BE49-F238E27FC236}">
                  <a16:creationId xmlns:a16="http://schemas.microsoft.com/office/drawing/2014/main" id="{D7C0A1F8-4803-477B-9003-4156DF9B2218}"/>
                </a:ext>
              </a:extLst>
            </p:cNvPr>
            <p:cNvSpPr/>
            <p:nvPr/>
          </p:nvSpPr>
          <p:spPr>
            <a:xfrm>
              <a:off x="1730142" y="2283771"/>
              <a:ext cx="10060310" cy="554603"/>
            </a:xfrm>
            <a:prstGeom prst="rightArrow">
              <a:avLst/>
            </a:prstGeom>
            <a:solidFill>
              <a:schemeClr val="accent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i="1" dirty="0">
                <a:solidFill>
                  <a:schemeClr val="tx2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ECD30EF0-68F5-4CA3-89E9-84A2A26369F3}"/>
                </a:ext>
              </a:extLst>
            </p:cNvPr>
            <p:cNvCxnSpPr>
              <a:cxnSpLocks/>
            </p:cNvCxnSpPr>
            <p:nvPr/>
          </p:nvCxnSpPr>
          <p:spPr>
            <a:xfrm>
              <a:off x="958208" y="3721208"/>
              <a:ext cx="11484864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FAAD75F5-B4BF-BB47-8257-C73EDD54E3C7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1910744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730D52D9-572E-5240-91DE-4BDAFB769658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3401063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101EDF4B-7DF0-5F4C-B08E-A77C42999817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4891382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B20538D8-B2E8-DB4F-AD05-4846EF6441C6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6238266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7" name="Rectangle 110">
              <a:extLst>
                <a:ext uri="{FF2B5EF4-FFF2-40B4-BE49-F238E27FC236}">
                  <a16:creationId xmlns:a16="http://schemas.microsoft.com/office/drawing/2014/main" id="{8DCDBA8B-8176-7F45-89B9-A1C6F12B6A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5761" y="1868678"/>
              <a:ext cx="145519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1,264 Pharmaceuticals</a:t>
              </a: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84B74359-6C68-4145-A5B1-86A995E9353D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8750568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  <p:sp>
          <p:nvSpPr>
            <p:cNvPr id="79" name="Rectangle 110">
              <a:extLst>
                <a:ext uri="{FF2B5EF4-FFF2-40B4-BE49-F238E27FC236}">
                  <a16:creationId xmlns:a16="http://schemas.microsoft.com/office/drawing/2014/main" id="{972B5058-EDCD-7A40-948F-CE23DEA911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23884" y="1776345"/>
              <a:ext cx="1172716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A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Georgia"/>
                </a:rPr>
                <a:t>17,296 Unique Customers</a:t>
              </a: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D65C8645-B637-F841-A193-B14A5E59864F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10240887" y="2482181"/>
              <a:ext cx="157782" cy="157782"/>
            </a:xfrm>
            <a:prstGeom prst="ellipse">
              <a:avLst/>
            </a:prstGeom>
            <a:solidFill>
              <a:schemeClr val="bg1"/>
            </a:solidFill>
            <a:ln w="19050" cmpd="sng">
              <a:solidFill>
                <a:srgbClr val="669C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600"/>
                </a:spcAft>
              </a:pPr>
              <a:r>
                <a:rPr lang="en-AU" sz="1801" dirty="0">
                  <a:solidFill>
                    <a:srgbClr val="26A6CF"/>
                  </a:solidFill>
                </a:rPr>
                <a:t> </a:t>
              </a:r>
              <a:endParaRPr lang="en-US" sz="1801" dirty="0">
                <a:solidFill>
                  <a:srgbClr val="26A6CF"/>
                </a:solidFill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71350E98-8F3E-45E9-A4E3-563A14757860}"/>
              </a:ext>
            </a:extLst>
          </p:cNvPr>
          <p:cNvSpPr/>
          <p:nvPr/>
        </p:nvSpPr>
        <p:spPr>
          <a:xfrm>
            <a:off x="-565081" y="4727925"/>
            <a:ext cx="23008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ow Variability</a:t>
            </a:r>
            <a:endParaRPr lang="en-US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B55B8F9-C44A-474D-94F8-63CE2791361F}"/>
              </a:ext>
            </a:extLst>
          </p:cNvPr>
          <p:cNvSpPr/>
          <p:nvPr/>
        </p:nvSpPr>
        <p:spPr>
          <a:xfrm>
            <a:off x="10525396" y="4719347"/>
            <a:ext cx="230084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High Variability</a:t>
            </a:r>
            <a:endParaRPr lang="en-US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2" name="Rectangle 110">
            <a:extLst>
              <a:ext uri="{FF2B5EF4-FFF2-40B4-BE49-F238E27FC236}">
                <a16:creationId xmlns:a16="http://schemas.microsoft.com/office/drawing/2014/main" id="{69FCCA9E-5F5A-44A4-ADF2-A85C7F2822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76976" y="4074003"/>
            <a:ext cx="134676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A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Georgia"/>
              </a:rPr>
              <a:t>($21,408) - $46,475 Claim Amount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28371047-B9B9-469A-83D9-1914E0C254F5}"/>
              </a:ext>
            </a:extLst>
          </p:cNvPr>
          <p:cNvSpPr>
            <a:spLocks noChangeAspect="1"/>
          </p:cNvSpPr>
          <p:nvPr/>
        </p:nvSpPr>
        <p:spPr>
          <a:xfrm flipV="1">
            <a:off x="10693979" y="4779839"/>
            <a:ext cx="157782" cy="157782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669C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600"/>
              </a:spcAft>
            </a:pPr>
            <a:r>
              <a:rPr lang="en-AU" sz="1801" dirty="0">
                <a:solidFill>
                  <a:srgbClr val="26A6CF"/>
                </a:solidFill>
              </a:rPr>
              <a:t> </a:t>
            </a:r>
            <a:endParaRPr lang="en-US" sz="1801" dirty="0">
              <a:solidFill>
                <a:srgbClr val="26A6CF"/>
              </a:solidFill>
            </a:endParaRPr>
          </a:p>
        </p:txBody>
      </p:sp>
      <p:sp>
        <p:nvSpPr>
          <p:cNvPr id="58" name="Rectangle 110">
            <a:extLst>
              <a:ext uri="{FF2B5EF4-FFF2-40B4-BE49-F238E27FC236}">
                <a16:creationId xmlns:a16="http://schemas.microsoft.com/office/drawing/2014/main" id="{7E5670D4-DB65-4384-9875-702FA25A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4206" y="4166336"/>
            <a:ext cx="117271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A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Georgia"/>
              </a:rPr>
              <a:t>2 – 183 Days to Resolve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68042B92-1CD4-48E0-81FD-375E05A6AF45}"/>
              </a:ext>
            </a:extLst>
          </p:cNvPr>
          <p:cNvSpPr>
            <a:spLocks noChangeAspect="1"/>
          </p:cNvSpPr>
          <p:nvPr/>
        </p:nvSpPr>
        <p:spPr>
          <a:xfrm flipV="1">
            <a:off x="6752548" y="4779839"/>
            <a:ext cx="157782" cy="157782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669CB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600"/>
              </a:spcAft>
            </a:pPr>
            <a:r>
              <a:rPr lang="en-AU" sz="1801" dirty="0">
                <a:solidFill>
                  <a:srgbClr val="26A6CF"/>
                </a:solidFill>
              </a:rPr>
              <a:t> </a:t>
            </a:r>
            <a:endParaRPr lang="en-US" sz="1801" dirty="0">
              <a:solidFill>
                <a:srgbClr val="26A6CF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21B0B8D-668F-42DE-A979-FA50D05B7C2D}"/>
              </a:ext>
            </a:extLst>
          </p:cNvPr>
          <p:cNvSpPr/>
          <p:nvPr/>
        </p:nvSpPr>
        <p:spPr>
          <a:xfrm>
            <a:off x="6293497" y="3774141"/>
            <a:ext cx="5450344" cy="1855694"/>
          </a:xfrm>
          <a:prstGeom prst="roundRect">
            <a:avLst/>
          </a:prstGeom>
          <a:noFill/>
          <a:ln w="38100">
            <a:solidFill>
              <a:srgbClr val="EF1E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F966FC4-C5FA-458F-9BB9-0452E2B31A80}"/>
              </a:ext>
            </a:extLst>
          </p:cNvPr>
          <p:cNvSpPr/>
          <p:nvPr/>
        </p:nvSpPr>
        <p:spPr>
          <a:xfrm>
            <a:off x="7971812" y="3412707"/>
            <a:ext cx="280105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Danger… Overfitting Ahead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82A4E25-6B5A-4E01-B00C-D15A7D8D79C9}"/>
              </a:ext>
            </a:extLst>
          </p:cNvPr>
          <p:cNvSpPr/>
          <p:nvPr/>
        </p:nvSpPr>
        <p:spPr>
          <a:xfrm>
            <a:off x="424826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&gt; 56k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ws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2742E5D-B9EE-49C8-B693-EDB233E0CB69}"/>
              </a:ext>
            </a:extLst>
          </p:cNvPr>
          <p:cNvSpPr/>
          <p:nvPr/>
        </p:nvSpPr>
        <p:spPr>
          <a:xfrm>
            <a:off x="2146010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5671E752-8868-4B88-A9E7-8B211E4BCE26}"/>
              </a:ext>
            </a:extLst>
          </p:cNvPr>
          <p:cNvSpPr/>
          <p:nvPr/>
        </p:nvSpPr>
        <p:spPr>
          <a:xfrm>
            <a:off x="420568" y="2343317"/>
            <a:ext cx="1634001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Month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Transaction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7FEC5F2-A11E-439B-BD57-5B7B9DD2A9F1}"/>
              </a:ext>
            </a:extLst>
          </p:cNvPr>
          <p:cNvSpPr/>
          <p:nvPr/>
        </p:nvSpPr>
        <p:spPr>
          <a:xfrm>
            <a:off x="2146010" y="2343317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er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ke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879DA04-DBD7-45B6-8F8D-017C87ADDC94}"/>
              </a:ext>
            </a:extLst>
          </p:cNvPr>
          <p:cNvSpPr/>
          <p:nvPr/>
        </p:nvSpPr>
        <p:spPr>
          <a:xfrm>
            <a:off x="3867194" y="1281618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60/40 split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zeros and ones”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2282FBD-8976-48AB-955F-CA327F288BC1}"/>
              </a:ext>
            </a:extLst>
          </p:cNvPr>
          <p:cNvSpPr/>
          <p:nvPr/>
        </p:nvSpPr>
        <p:spPr>
          <a:xfrm>
            <a:off x="3867194" y="2337060"/>
            <a:ext cx="1629744" cy="946442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</a:p>
          <a:p>
            <a:pPr lvl="0" algn="ctr">
              <a:defRPr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labeled</a:t>
            </a:r>
          </a:p>
        </p:txBody>
      </p:sp>
    </p:spTree>
    <p:extLst>
      <p:ext uri="{BB962C8B-B14F-4D97-AF65-F5344CB8AC3E}">
        <p14:creationId xmlns:p14="http://schemas.microsoft.com/office/powerpoint/2010/main" val="31034228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8D8E60-FE2B-45AF-ABB4-232B2C4BF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45B8B9F-D6E0-40D0-804E-1512F318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fier Model After Three Iterations</a:t>
            </a:r>
          </a:p>
        </p:txBody>
      </p:sp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537B4026-DC0E-492A-AB9C-26EC61833F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9891582"/>
              </p:ext>
            </p:extLst>
          </p:nvPr>
        </p:nvGraphicFramePr>
        <p:xfrm>
          <a:off x="357352" y="1573874"/>
          <a:ext cx="4653921" cy="1744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1307">
                  <a:extLst>
                    <a:ext uri="{9D8B030D-6E8A-4147-A177-3AD203B41FA5}">
                      <a16:colId xmlns:a16="http://schemas.microsoft.com/office/drawing/2014/main" val="1856198662"/>
                    </a:ext>
                  </a:extLst>
                </a:gridCol>
                <a:gridCol w="1551307">
                  <a:extLst>
                    <a:ext uri="{9D8B030D-6E8A-4147-A177-3AD203B41FA5}">
                      <a16:colId xmlns:a16="http://schemas.microsoft.com/office/drawing/2014/main" val="1943932598"/>
                    </a:ext>
                  </a:extLst>
                </a:gridCol>
                <a:gridCol w="1551307">
                  <a:extLst>
                    <a:ext uri="{9D8B030D-6E8A-4147-A177-3AD203B41FA5}">
                      <a16:colId xmlns:a16="http://schemas.microsoft.com/office/drawing/2014/main" val="4253247503"/>
                    </a:ext>
                  </a:extLst>
                </a:gridCol>
              </a:tblGrid>
              <a:tr h="523564"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ctual Resubm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ctual Write Of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8788527"/>
                  </a:ext>
                </a:extLst>
              </a:tr>
              <a:tr h="58285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edicted Resubmi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8,5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48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974028"/>
                  </a:ext>
                </a:extLst>
              </a:tr>
              <a:tr h="58285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edicted Write Off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3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4,6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602008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716187C-ACBA-4D7C-B2E9-8CCC43487D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2684807"/>
              </p:ext>
            </p:extLst>
          </p:nvPr>
        </p:nvGraphicFramePr>
        <p:xfrm>
          <a:off x="357348" y="3837276"/>
          <a:ext cx="5461939" cy="25532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5543">
                  <a:extLst>
                    <a:ext uri="{9D8B030D-6E8A-4147-A177-3AD203B41FA5}">
                      <a16:colId xmlns:a16="http://schemas.microsoft.com/office/drawing/2014/main" val="1856198662"/>
                    </a:ext>
                  </a:extLst>
                </a:gridCol>
                <a:gridCol w="1154430">
                  <a:extLst>
                    <a:ext uri="{9D8B030D-6E8A-4147-A177-3AD203B41FA5}">
                      <a16:colId xmlns:a16="http://schemas.microsoft.com/office/drawing/2014/main" val="1943932598"/>
                    </a:ext>
                  </a:extLst>
                </a:gridCol>
                <a:gridCol w="838517">
                  <a:extLst>
                    <a:ext uri="{9D8B030D-6E8A-4147-A177-3AD203B41FA5}">
                      <a16:colId xmlns:a16="http://schemas.microsoft.com/office/drawing/2014/main" val="4253247503"/>
                    </a:ext>
                  </a:extLst>
                </a:gridCol>
                <a:gridCol w="1130617">
                  <a:extLst>
                    <a:ext uri="{9D8B030D-6E8A-4147-A177-3AD203B41FA5}">
                      <a16:colId xmlns:a16="http://schemas.microsoft.com/office/drawing/2014/main" val="2296049458"/>
                    </a:ext>
                  </a:extLst>
                </a:gridCol>
                <a:gridCol w="1172832">
                  <a:extLst>
                    <a:ext uri="{9D8B030D-6E8A-4147-A177-3AD203B41FA5}">
                      <a16:colId xmlns:a16="http://schemas.microsoft.com/office/drawing/2014/main" val="1057586314"/>
                    </a:ext>
                  </a:extLst>
                </a:gridCol>
              </a:tblGrid>
              <a:tr h="601067"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Pr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ec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F1–s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uppo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8788527"/>
                  </a:ext>
                </a:extLst>
              </a:tr>
              <a:tr h="68156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ubmi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9,07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974028"/>
                  </a:ext>
                </a:extLst>
              </a:tr>
              <a:tr h="63533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Write Off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5,0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602008"/>
                  </a:ext>
                </a:extLst>
              </a:tr>
              <a:tr h="63533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ccuracy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4,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7076097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6E6E8EFA-4036-4966-8476-C840C3BC3E9E}"/>
              </a:ext>
            </a:extLst>
          </p:cNvPr>
          <p:cNvSpPr txBox="1"/>
          <p:nvPr/>
        </p:nvSpPr>
        <p:spPr>
          <a:xfrm>
            <a:off x="6275294" y="4036014"/>
            <a:ext cx="3720353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A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ccuracy = (True negative + True Positive) / ALL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R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ecall = true positive/(true positive + False negative)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chemeClr val="tx2"/>
                </a:solidFill>
                <a:latin typeface="Calibri" panose="020F0502020204030204" pitchFamily="34" charset="0"/>
              </a:rPr>
              <a:t>P</a:t>
            </a:r>
            <a:r>
              <a:rPr lang="en-US" sz="1800" b="1" i="1" dirty="0"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recision = true positive/ (true positive + false positive)</a:t>
            </a:r>
            <a:endParaRPr lang="en-US" sz="1800" i="1" dirty="0"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7B72FC-37AD-46B1-BEEC-8AD3027225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8347" y="992285"/>
            <a:ext cx="6429375" cy="2562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37239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8D8E60-FE2B-45AF-ABB4-232B2C4BF4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51B892-AA72-40B9-AC8A-05BE64B0217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45B8B9F-D6E0-40D0-804E-1512F318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ceholder – Visualizing the Data</a:t>
            </a:r>
          </a:p>
        </p:txBody>
      </p:sp>
    </p:spTree>
    <p:extLst>
      <p:ext uri="{BB962C8B-B14F-4D97-AF65-F5344CB8AC3E}">
        <p14:creationId xmlns:p14="http://schemas.microsoft.com/office/powerpoint/2010/main" val="355219571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E7AEE-F543-554C-B3C5-1F00B1669A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971C27-C87E-45F4-8EEB-007BFB32C23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4C98F3C-D1E4-144A-9D35-C02A19043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 and Postmortem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029405C-2954-407F-968E-0E9B8107B0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en-US" dirty="0"/>
              <a:t>Apply these visualizations and models to other business units (one of four represented)</a:t>
            </a:r>
          </a:p>
          <a:p>
            <a:pPr>
              <a:spcAft>
                <a:spcPts val="1200"/>
              </a:spcAft>
            </a:pPr>
            <a:r>
              <a:rPr lang="en-US" dirty="0"/>
              <a:t>Apply across different time horizons to see if model accuracy remains high</a:t>
            </a:r>
          </a:p>
          <a:p>
            <a:pPr>
              <a:spcAft>
                <a:spcPts val="1200"/>
              </a:spcAft>
            </a:pPr>
            <a:endParaRPr lang="en-US" dirty="0"/>
          </a:p>
          <a:p>
            <a:pPr>
              <a:spcAft>
                <a:spcPts val="120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324679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60F355-F46B-E043-991F-1BB741E15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57963008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Z.pBu4QfW8nVn_s6GJpw"/>
</p:tagLst>
</file>

<file path=ppt/theme/theme1.xml><?xml version="1.0" encoding="utf-8"?>
<a:theme xmlns:a="http://schemas.openxmlformats.org/drawingml/2006/main" name="McKesson">
  <a:themeElements>
    <a:clrScheme name="McKesson">
      <a:dk1>
        <a:srgbClr val="000000"/>
      </a:dk1>
      <a:lt1>
        <a:srgbClr val="FFFFFF"/>
      </a:lt1>
      <a:dk2>
        <a:srgbClr val="005A8C"/>
      </a:dk2>
      <a:lt2>
        <a:srgbClr val="FFFFFF"/>
      </a:lt2>
      <a:accent1>
        <a:srgbClr val="005A8C"/>
      </a:accent1>
      <a:accent2>
        <a:srgbClr val="88746A"/>
      </a:accent2>
      <a:accent3>
        <a:srgbClr val="5A8E22"/>
      </a:accent3>
      <a:accent4>
        <a:srgbClr val="EF8200"/>
      </a:accent4>
      <a:accent5>
        <a:srgbClr val="702C6A"/>
      </a:accent5>
      <a:accent6>
        <a:srgbClr val="B95915"/>
      </a:accent6>
      <a:hlink>
        <a:srgbClr val="005A8C"/>
      </a:hlink>
      <a:folHlink>
        <a:srgbClr val="88746A"/>
      </a:folHlink>
    </a:clrScheme>
    <a:fontScheme name="McKess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dirty="0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</a:txDef>
  </a:objectDefaults>
  <a:extraClrSchemeLst>
    <a:extraClrScheme>
      <a:clrScheme name="McKesson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88746A"/>
        </a:accent2>
        <a:accent3>
          <a:srgbClr val="5A8E22"/>
        </a:accent3>
        <a:accent4>
          <a:srgbClr val="EF8200"/>
        </a:accent4>
        <a:accent5>
          <a:srgbClr val="702C6A"/>
        </a:accent5>
        <a:accent6>
          <a:srgbClr val="B95915"/>
        </a:accent6>
        <a:hlink>
          <a:srgbClr val="005A8C"/>
        </a:hlink>
        <a:folHlink>
          <a:srgbClr val="88746A"/>
        </a:folHlink>
      </a:clrScheme>
    </a:extraClrScheme>
    <a:extraClrScheme>
      <a:clrScheme name="McKesson Blue">
        <a:dk1>
          <a:srgbClr val="000000"/>
        </a:dk1>
        <a:lt1>
          <a:sysClr val="window" lastClr="FFFFFF"/>
        </a:lt1>
        <a:dk2>
          <a:srgbClr val="005A8C"/>
        </a:dk2>
        <a:lt2>
          <a:srgbClr val="FFFFFF"/>
        </a:lt2>
        <a:accent1>
          <a:srgbClr val="005A8C"/>
        </a:accent1>
        <a:accent2>
          <a:srgbClr val="669CBA"/>
        </a:accent2>
        <a:accent3>
          <a:srgbClr val="BFD6E2"/>
        </a:accent3>
        <a:accent4>
          <a:srgbClr val="E5EEF3"/>
        </a:accent4>
        <a:accent5>
          <a:srgbClr val="666666"/>
        </a:accent5>
        <a:accent6>
          <a:srgbClr val="BFBFBF"/>
        </a:accent6>
        <a:hlink>
          <a:srgbClr val="005A8C"/>
        </a:hlink>
        <a:folHlink>
          <a:srgbClr val="88746A"/>
        </a:folHlink>
      </a:clrScheme>
    </a:extraClrScheme>
  </a:extraClrSchemeLst>
  <a:extLst>
    <a:ext uri="{05A4C25C-085E-4340-85A3-A5531E510DB2}">
      <thm15:themeFamily xmlns:thm15="http://schemas.microsoft.com/office/thememl/2012/main" name="McKesson.potx" id="{63C95388-64FE-4D61-BCF8-FA2600E4F2C3}" vid="{75979907-3BBD-463F-89CC-D07DFA9C877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cKess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cKesson.potx</Template>
  <TotalTime>14801</TotalTime>
  <Words>612</Words>
  <Application>Microsoft Office PowerPoint</Application>
  <PresentationFormat>Widescreen</PresentationFormat>
  <Paragraphs>177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Georgia</vt:lpstr>
      <vt:lpstr>McKesson</vt:lpstr>
      <vt:lpstr>think-cell Slide</vt:lpstr>
      <vt:lpstr>Turning Data Into Information: Examining Reimbursements</vt:lpstr>
      <vt:lpstr>Why We Chose This Topic</vt:lpstr>
      <vt:lpstr>Why Reimbursements Exist</vt:lpstr>
      <vt:lpstr>Reimbursement Process Overview</vt:lpstr>
      <vt:lpstr>Our Data</vt:lpstr>
      <vt:lpstr>Classifier Model After Three Iterations</vt:lpstr>
      <vt:lpstr>Placeholder – Visualizing the Data</vt:lpstr>
      <vt:lpstr>Conclusions and Postmortem</vt:lpstr>
      <vt:lpstr>Q&amp;A</vt:lpstr>
    </vt:vector>
  </TitlesOfParts>
  <Manager/>
  <Company>McKesson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cKesson PowerPoint Template</dc:title>
  <dc:subject/>
  <dc:creator>Koelbl, Alexis</dc:creator>
  <cp:keywords/>
  <dc:description/>
  <cp:lastModifiedBy>Alex Wise</cp:lastModifiedBy>
  <cp:revision>204</cp:revision>
  <dcterms:created xsi:type="dcterms:W3CDTF">2017-02-23T22:52:18Z</dcterms:created>
  <dcterms:modified xsi:type="dcterms:W3CDTF">2021-04-24T15:48:03Z</dcterms:modified>
  <cp:category/>
  <cp:contentStatus>DRAFT - DO NOT DISTRIBUTE</cp:contentStatus>
</cp:coreProperties>
</file>